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8"/>
  </p:notesMasterIdLst>
  <p:sldIdLst>
    <p:sldId id="256" r:id="rId2"/>
    <p:sldId id="257" r:id="rId3"/>
    <p:sldId id="275" r:id="rId4"/>
    <p:sldId id="276" r:id="rId5"/>
    <p:sldId id="277" r:id="rId6"/>
    <p:sldId id="278" r:id="rId7"/>
    <p:sldId id="279" r:id="rId8"/>
    <p:sldId id="280" r:id="rId9"/>
    <p:sldId id="282" r:id="rId10"/>
    <p:sldId id="291" r:id="rId11"/>
    <p:sldId id="292" r:id="rId12"/>
    <p:sldId id="293" r:id="rId13"/>
    <p:sldId id="294" r:id="rId14"/>
    <p:sldId id="296" r:id="rId15"/>
    <p:sldId id="297" r:id="rId16"/>
    <p:sldId id="298" r:id="rId17"/>
    <p:sldId id="299" r:id="rId18"/>
    <p:sldId id="300" r:id="rId19"/>
    <p:sldId id="301" r:id="rId20"/>
    <p:sldId id="283" r:id="rId21"/>
    <p:sldId id="284" r:id="rId22"/>
    <p:sldId id="285" r:id="rId23"/>
    <p:sldId id="286" r:id="rId24"/>
    <p:sldId id="287" r:id="rId25"/>
    <p:sldId id="288" r:id="rId26"/>
    <p:sldId id="290" r:id="rId27"/>
  </p:sldIdLst>
  <p:sldSz cx="9144000" cy="6858000" type="screen4x3"/>
  <p:notesSz cx="6792913" cy="9926638"/>
  <p:custDataLst>
    <p:tags r:id="rId29"/>
  </p:custDataLst>
  <p:defaultTextStyle>
    <a:defPPr>
      <a:defRPr lang="cs-CZ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FF5050"/>
    <a:srgbClr val="FF9999"/>
    <a:srgbClr val="FF3300"/>
    <a:srgbClr val="CC0000"/>
    <a:srgbClr val="FFCCCC"/>
    <a:srgbClr val="FFFFCC"/>
    <a:srgbClr val="A500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>
      <p:cViewPr>
        <p:scale>
          <a:sx n="77" d="100"/>
          <a:sy n="77" d="100"/>
        </p:scale>
        <p:origin x="-1764" y="-42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32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48100" y="0"/>
            <a:ext cx="29432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smtClean="0"/>
            </a:lvl1pPr>
          </a:lstStyle>
          <a:p>
            <a:pPr>
              <a:defRPr/>
            </a:pPr>
            <a:fld id="{3F7035DE-B47B-403C-B0A6-DB26D3885432}" type="datetimeFigureOut">
              <a:rPr lang="cs-CZ"/>
              <a:pPr>
                <a:defRPr/>
              </a:pPr>
              <a:t>20.4.2015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4113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cs-CZ" noProof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4013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noProof="0" smtClean="0"/>
              <a:t>Klepnutím lze upravit styly předlohy textu.</a:t>
            </a:r>
          </a:p>
          <a:p>
            <a:pPr lvl="1"/>
            <a:r>
              <a:rPr lang="cs-CZ" noProof="0" smtClean="0"/>
              <a:t>Druhá úroveň</a:t>
            </a:r>
          </a:p>
          <a:p>
            <a:pPr lvl="2"/>
            <a:r>
              <a:rPr lang="cs-CZ" noProof="0" smtClean="0"/>
              <a:t>Třetí úroveň</a:t>
            </a:r>
          </a:p>
          <a:p>
            <a:pPr lvl="3"/>
            <a:r>
              <a:rPr lang="cs-CZ" noProof="0" smtClean="0"/>
              <a:t>Čtvrtá úroveň</a:t>
            </a:r>
          </a:p>
          <a:p>
            <a:pPr lvl="4"/>
            <a:r>
              <a:rPr lang="cs-CZ" noProof="0" smtClean="0"/>
              <a:t>Pátá úroveň</a:t>
            </a:r>
            <a:endParaRPr lang="cs-CZ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32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48100" y="9428163"/>
            <a:ext cx="29432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D057A34E-8531-4C1B-9BCD-205D80231D6A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5217750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smtClean="0"/>
              <a:t>Klepnutím lze upravit styl předlohy podnadpisů.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47BF4F-64EE-455F-8D89-199F9325159B}" type="datetimeFigureOut">
              <a:rPr lang="cs-CZ"/>
              <a:pPr>
                <a:defRPr/>
              </a:pPr>
              <a:t>20.4.2015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0C793A-D29C-4640-A1E8-EBE408E7F6B4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CFD89B-8914-4018-AD58-72809F00E6E2}" type="datetimeFigureOut">
              <a:rPr lang="cs-CZ"/>
              <a:pPr>
                <a:defRPr/>
              </a:pPr>
              <a:t>20.4.2015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EEA0BE-F5FB-4F99-A9EE-DC1183B62C31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4D767D-25C4-4121-9838-ABC6BC4A56D1}" type="datetimeFigureOut">
              <a:rPr lang="cs-CZ"/>
              <a:pPr>
                <a:defRPr/>
              </a:pPr>
              <a:t>20.4.2015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CEAC77-EAF1-4D7C-90C4-AC2861EB2467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Nadpis a tabul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8001000" cy="838200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abulku 2"/>
          <p:cNvSpPr>
            <a:spLocks noGrp="1"/>
          </p:cNvSpPr>
          <p:nvPr>
            <p:ph type="tbl" idx="1"/>
          </p:nvPr>
        </p:nvSpPr>
        <p:spPr>
          <a:xfrm>
            <a:off x="685800" y="1295400"/>
            <a:ext cx="7772400" cy="4648200"/>
          </a:xfrm>
        </p:spPr>
        <p:txBody>
          <a:bodyPr/>
          <a:lstStyle/>
          <a:p>
            <a:pPr lvl="0"/>
            <a:endParaRPr lang="cs-CZ" noProof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381000" y="6015038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>
          <a:xfrm>
            <a:off x="3124200" y="6015038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6858000" y="6015038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D4E5AC-9FD0-4890-85DA-7E6731CB7D1E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5088CE-A522-4429-97AD-012D8784BA76}" type="datetimeFigureOut">
              <a:rPr lang="cs-CZ"/>
              <a:pPr>
                <a:defRPr/>
              </a:pPr>
              <a:t>20.4.2015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89C5B2-3B81-40BE-AA11-0ED5AEE5C0B3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6D5580-A18A-44B3-938D-3944862BBB46}" type="datetimeFigureOut">
              <a:rPr lang="cs-CZ"/>
              <a:pPr>
                <a:defRPr/>
              </a:pPr>
              <a:t>20.4.2015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157A7A-83F9-4C52-BDFF-E2F11ACB3681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DBD480-E335-4A93-AD81-0FD16327BA39}" type="datetimeFigureOut">
              <a:rPr lang="cs-CZ"/>
              <a:pPr>
                <a:defRPr/>
              </a:pPr>
              <a:t>20.4.2015</a:t>
            </a:fld>
            <a:endParaRPr lang="cs-CZ"/>
          </a:p>
        </p:txBody>
      </p:sp>
      <p:sp>
        <p:nvSpPr>
          <p:cNvPr id="6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1BB1B9-6DC9-44C9-AABA-408D6150A369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2B8363-CDB7-4C21-9AE0-484961F01860}" type="datetimeFigureOut">
              <a:rPr lang="cs-CZ"/>
              <a:pPr>
                <a:defRPr/>
              </a:pPr>
              <a:t>20.4.2015</a:t>
            </a:fld>
            <a:endParaRPr lang="cs-CZ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F5B390-FCEE-4D28-9271-9A93DAE621F5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5ABF8D-6897-4D32-84E7-766C07CE1E1B}" type="datetimeFigureOut">
              <a:rPr lang="cs-CZ"/>
              <a:pPr>
                <a:defRPr/>
              </a:pPr>
              <a:t>20.4.2015</a:t>
            </a:fld>
            <a:endParaRPr lang="cs-CZ"/>
          </a:p>
        </p:txBody>
      </p:sp>
      <p:sp>
        <p:nvSpPr>
          <p:cNvPr id="4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086674-DA26-4DF1-8EA3-472613BA5150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92F49F-BE85-4D56-967D-73A684205DFC}" type="datetimeFigureOut">
              <a:rPr lang="cs-CZ"/>
              <a:pPr>
                <a:defRPr/>
              </a:pPr>
              <a:t>20.4.2015</a:t>
            </a:fld>
            <a:endParaRPr lang="cs-CZ"/>
          </a:p>
        </p:txBody>
      </p:sp>
      <p:sp>
        <p:nvSpPr>
          <p:cNvPr id="3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4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5D290F-FC0B-4E35-865C-8CE58A37665E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84B1B-96B5-4EE3-9D33-9A766B7CE5C4}" type="datetimeFigureOut">
              <a:rPr lang="cs-CZ"/>
              <a:pPr>
                <a:defRPr/>
              </a:pPr>
              <a:t>20.4.2015</a:t>
            </a:fld>
            <a:endParaRPr lang="cs-CZ"/>
          </a:p>
        </p:txBody>
      </p:sp>
      <p:sp>
        <p:nvSpPr>
          <p:cNvPr id="6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D607D9-727C-4504-A1FA-E1237C13624B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cs-CZ" noProof="0" smtClean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C1BEC3-2C46-481D-95B1-46AB74C3F35E}" type="datetimeFigureOut">
              <a:rPr lang="cs-CZ"/>
              <a:pPr>
                <a:defRPr/>
              </a:pPr>
              <a:t>20.4.2015</a:t>
            </a:fld>
            <a:endParaRPr lang="cs-CZ"/>
          </a:p>
        </p:txBody>
      </p:sp>
      <p:sp>
        <p:nvSpPr>
          <p:cNvPr id="6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3A8D6D-2B3E-4E46-A557-93DAD4BD4B63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Zástupný symbol pro nadpis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s-CZ" smtClean="0"/>
              <a:t>Klepnutím lze upravit styl předlohy nadpisů.</a:t>
            </a:r>
          </a:p>
        </p:txBody>
      </p:sp>
      <p:sp>
        <p:nvSpPr>
          <p:cNvPr id="17411" name="Zástupný symbol pro text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1DA5E95-EFC4-4E70-ABC9-9C14E60FEC33}" type="datetimeFigureOut">
              <a:rPr lang="cs-CZ"/>
              <a:pPr>
                <a:defRPr/>
              </a:pPr>
              <a:t>20.4.2015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7ADD068-B9E9-4333-A7A8-1AE6F42EAAE2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9" r:id="rId2"/>
    <p:sldLayoutId id="2147483658" r:id="rId3"/>
    <p:sldLayoutId id="2147483657" r:id="rId4"/>
    <p:sldLayoutId id="2147483656" r:id="rId5"/>
    <p:sldLayoutId id="2147483655" r:id="rId6"/>
    <p:sldLayoutId id="2147483654" r:id="rId7"/>
    <p:sldLayoutId id="2147483653" r:id="rId8"/>
    <p:sldLayoutId id="2147483652" r:id="rId9"/>
    <p:sldLayoutId id="2147483651" r:id="rId10"/>
    <p:sldLayoutId id="2147483650" r:id="rId11"/>
    <p:sldLayoutId id="2147483661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ikiskripta.eu/index.php/Encefalitida" TargetMode="External"/><Relationship Id="rId7" Type="http://schemas.openxmlformats.org/officeDocument/2006/relationships/hyperlink" Target="http://www.wikiskripta.eu/index.php/Hypoxie" TargetMode="External"/><Relationship Id="rId2" Type="http://schemas.openxmlformats.org/officeDocument/2006/relationships/hyperlink" Target="http://www.wikiskripta.eu/index.php/Hematoencefalick%C3%A1_bari%C3%A9ra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wikiskripta.eu/index.php?title=Rebound_fenom%C3%A9n&amp;action=edit&amp;redlink=1" TargetMode="External"/><Relationship Id="rId5" Type="http://schemas.openxmlformats.org/officeDocument/2006/relationships/hyperlink" Target="http://www.wikiskripta.eu/index.php?title=Dexametazon&amp;action=edit&amp;redlink=1" TargetMode="External"/><Relationship Id="rId4" Type="http://schemas.openxmlformats.org/officeDocument/2006/relationships/hyperlink" Target="http://www.wikiskripta.eu/index.php/Kortikoidy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ikiskripta.eu/index.php?title=Corpus_calosum&amp;action=edit&amp;redlink=1" TargetMode="External"/><Relationship Id="rId2" Type="http://schemas.openxmlformats.org/officeDocument/2006/relationships/hyperlink" Target="http://www.wikiskripta.eu/index.php?title=Gyrus_cinguli&amp;action=edit&amp;redlink=1" TargetMode="Externa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://upload.wikimedia.org/wikipedia/commons/7/79/Brain_herniation_types-2.svg" TargetMode="Externa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://upload.wikimedia.org/wikipedia/commons/7/79/Brain_herniation_types-2.svg" TargetMode="Externa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://upload.wikimedia.org/wikipedia/commons/7/79/Brain_herniation_types-2.svg" TargetMode="Externa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://upload.wikimedia.org/wikipedia/commons/7/79/Brain_herniation_types-2.svg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0" y="0"/>
            <a:ext cx="3276600" cy="6858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dirty="0"/>
          </a:p>
        </p:txBody>
      </p:sp>
      <p:sp>
        <p:nvSpPr>
          <p:cNvPr id="15362" name="Rectangle 1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59163" y="2303463"/>
            <a:ext cx="44100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ct val="20000"/>
              </a:spcBef>
              <a:buClr>
                <a:schemeClr val="bg2"/>
              </a:buClr>
              <a:buFont typeface="Wingdings" pitchFamily="2" charset="2"/>
              <a:buNone/>
              <a:tabLst>
                <a:tab pos="144463" algn="l"/>
              </a:tabLst>
            </a:pPr>
            <a:r>
              <a:rPr lang="cs-CZ" sz="2200" b="1">
                <a:solidFill>
                  <a:srgbClr val="FF0000"/>
                </a:solidFill>
              </a:rPr>
              <a:t>Kraniocerebrální poranění v PNP</a:t>
            </a:r>
            <a:endParaRPr lang="cs-CZ" sz="220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67544" y="332656"/>
            <a:ext cx="8229600" cy="4525963"/>
          </a:xfrm>
        </p:spPr>
        <p:txBody>
          <a:bodyPr/>
          <a:lstStyle/>
          <a:p>
            <a:pPr marL="0" indent="0">
              <a:buNone/>
            </a:pPr>
            <a:r>
              <a:rPr lang="cs-CZ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Vazogenní</a:t>
            </a:r>
            <a:r>
              <a:rPr lang="cs-CZ" sz="2000" b="1" dirty="0">
                <a:latin typeface="Arial" panose="020B0604020202020204" pitchFamily="34" charset="0"/>
                <a:cs typeface="Arial" panose="020B0604020202020204" pitchFamily="34" charset="0"/>
              </a:rPr>
              <a:t> mozkový </a:t>
            </a:r>
            <a:r>
              <a:rPr lang="cs-CZ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dém</a:t>
            </a:r>
          </a:p>
          <a:p>
            <a:r>
              <a:rPr lang="cs-CZ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vzniká </a:t>
            </a:r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</a:rPr>
              <a:t>poruchou </a:t>
            </a:r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  <a:hlinkClick r:id="rId2" tooltip="Hematoencefalická bariéra"/>
              </a:rPr>
              <a:t>hematoencefalické bariéry</a:t>
            </a:r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</a:rPr>
              <a:t> (HEB) </a:t>
            </a:r>
          </a:p>
          <a:p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</a:rPr>
              <a:t>provází nejčastěji nádory a </a:t>
            </a:r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  <a:hlinkClick r:id="rId3" tooltip="Encefalitida"/>
              </a:rPr>
              <a:t>záněty</a:t>
            </a:r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cs-CZ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příznivě </a:t>
            </a:r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</a:rPr>
              <a:t>reaguje na terapii </a:t>
            </a:r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  <a:hlinkClick r:id="rId4" tooltip="Kortikoidy"/>
              </a:rPr>
              <a:t>kortikoidy</a:t>
            </a:r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</a:rPr>
              <a:t> (hlavně </a:t>
            </a:r>
            <a:r>
              <a:rPr lang="cs-CZ" sz="2000" dirty="0" err="1" smtClean="0">
                <a:latin typeface="Arial" panose="020B0604020202020204" pitchFamily="34" charset="0"/>
                <a:cs typeface="Arial" panose="020B0604020202020204" pitchFamily="34" charset="0"/>
                <a:hlinkClick r:id="rId5" tooltip="Dexametazon (stránka neexistuje)"/>
              </a:rPr>
              <a:t>dexametazon</a:t>
            </a:r>
            <a:r>
              <a:rPr lang="cs-CZ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), terapie </a:t>
            </a:r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</a:rPr>
              <a:t>osmotickými látkami (</a:t>
            </a:r>
            <a:r>
              <a:rPr lang="cs-CZ" sz="2000" dirty="0" err="1">
                <a:latin typeface="Arial" panose="020B0604020202020204" pitchFamily="34" charset="0"/>
                <a:cs typeface="Arial" panose="020B0604020202020204" pitchFamily="34" charset="0"/>
              </a:rPr>
              <a:t>manitol</a:t>
            </a:r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</a:rPr>
              <a:t>) může způsobit </a:t>
            </a:r>
            <a:r>
              <a:rPr lang="cs-CZ" sz="2000" dirty="0" err="1">
                <a:latin typeface="Arial" panose="020B0604020202020204" pitchFamily="34" charset="0"/>
                <a:cs typeface="Arial" panose="020B0604020202020204" pitchFamily="34" charset="0"/>
                <a:hlinkClick r:id="rId6" tooltip="Rebound fenomén (stránka neexistuje)"/>
              </a:rPr>
              <a:t>rebound</a:t>
            </a:r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  <a:hlinkClick r:id="rId6" tooltip="Rebound fenomén (stránka neexistuje)"/>
              </a:rPr>
              <a:t> fenomén</a:t>
            </a:r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</a:rPr>
              <a:t> (dostane-li se </a:t>
            </a:r>
            <a:r>
              <a:rPr lang="cs-CZ" sz="2000" dirty="0" err="1">
                <a:latin typeface="Arial" panose="020B0604020202020204" pitchFamily="34" charset="0"/>
                <a:cs typeface="Arial" panose="020B0604020202020204" pitchFamily="34" charset="0"/>
              </a:rPr>
              <a:t>manitol</a:t>
            </a:r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</a:rPr>
              <a:t> do parenchymu, otok se zhorší) </a:t>
            </a:r>
            <a:endParaRPr lang="cs-CZ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cs-CZ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cs-CZ" sz="2000" b="1" dirty="0">
                <a:latin typeface="Arial" panose="020B0604020202020204" pitchFamily="34" charset="0"/>
                <a:cs typeface="Arial" panose="020B0604020202020204" pitchFamily="34" charset="0"/>
              </a:rPr>
              <a:t>Cytotoxický mozkový </a:t>
            </a:r>
            <a:r>
              <a:rPr lang="cs-CZ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dém</a:t>
            </a:r>
          </a:p>
          <a:p>
            <a:r>
              <a:rPr lang="cs-CZ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vzniká </a:t>
            </a:r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</a:rPr>
              <a:t>jako následek </a:t>
            </a:r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  <a:hlinkClick r:id="rId7" tooltip="Hypoxie"/>
              </a:rPr>
              <a:t>hypoxie</a:t>
            </a:r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</a:rPr>
              <a:t> buňky a je doprovázen poruchou membránové rovnováhy </a:t>
            </a:r>
          </a:p>
          <a:p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</a:rPr>
              <a:t>voda je především intracelulárně </a:t>
            </a:r>
          </a:p>
          <a:p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</a:rPr>
              <a:t>nejčastějším etiologickým činitelem je úraz </a:t>
            </a:r>
          </a:p>
          <a:p>
            <a:endParaRPr lang="cs-CZ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0128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Herniace</a:t>
            </a:r>
            <a:r>
              <a:rPr lang="cs-CZ" dirty="0" smtClean="0"/>
              <a:t> 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Herniace</a:t>
            </a:r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cingulární</a:t>
            </a:r>
            <a:endParaRPr lang="cs-CZ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cs-CZ" sz="2400" dirty="0" err="1">
                <a:latin typeface="Arial" panose="020B0604020202020204" pitchFamily="34" charset="0"/>
                <a:cs typeface="Arial" panose="020B0604020202020204" pitchFamily="34" charset="0"/>
                <a:hlinkClick r:id="rId2" tooltip="Gyrus cinguli (stránka neexistuje)"/>
              </a:rPr>
              <a:t>gyrus</a:t>
            </a:r>
            <a:r>
              <a:rPr lang="cs-CZ" sz="2400" dirty="0">
                <a:latin typeface="Arial" panose="020B0604020202020204" pitchFamily="34" charset="0"/>
                <a:cs typeface="Arial" panose="020B0604020202020204" pitchFamily="34" charset="0"/>
                <a:hlinkClick r:id="rId2" tooltip="Gyrus cinguli (stránka neexistuje)"/>
              </a:rPr>
              <a:t> </a:t>
            </a:r>
            <a:r>
              <a:rPr lang="cs-CZ" sz="2400" dirty="0" err="1">
                <a:latin typeface="Arial" panose="020B0604020202020204" pitchFamily="34" charset="0"/>
                <a:cs typeface="Arial" panose="020B0604020202020204" pitchFamily="34" charset="0"/>
                <a:hlinkClick r:id="rId2" tooltip="Gyrus cinguli (stránka neexistuje)"/>
              </a:rPr>
              <a:t>cinguli</a:t>
            </a:r>
            <a:r>
              <a:rPr lang="cs-CZ" sz="24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cs-CZ" sz="2400" dirty="0" err="1">
                <a:latin typeface="Arial" panose="020B0604020202020204" pitchFamily="34" charset="0"/>
                <a:cs typeface="Arial" panose="020B0604020202020204" pitchFamily="34" charset="0"/>
              </a:rPr>
              <a:t>gyrus</a:t>
            </a:r>
            <a:r>
              <a:rPr lang="cs-CZ" sz="2400" dirty="0">
                <a:latin typeface="Arial" panose="020B0604020202020204" pitchFamily="34" charset="0"/>
                <a:cs typeface="Arial" panose="020B0604020202020204" pitchFamily="34" charset="0"/>
              </a:rPr>
              <a:t> obkružující mediálně </a:t>
            </a:r>
            <a:r>
              <a:rPr lang="cs-CZ" sz="2400" dirty="0">
                <a:latin typeface="Arial" panose="020B0604020202020204" pitchFamily="34" charset="0"/>
                <a:cs typeface="Arial" panose="020B0604020202020204" pitchFamily="34" charset="0"/>
                <a:hlinkClick r:id="rId3" tooltip="Corpus calosum (stránka neexistuje)"/>
              </a:rPr>
              <a:t>corpus </a:t>
            </a:r>
            <a:r>
              <a:rPr lang="cs-CZ" sz="2400" dirty="0" err="1">
                <a:latin typeface="Arial" panose="020B0604020202020204" pitchFamily="34" charset="0"/>
                <a:cs typeface="Arial" panose="020B0604020202020204" pitchFamily="34" charset="0"/>
                <a:hlinkClick r:id="rId3" tooltip="Corpus calosum (stránka neexistuje)"/>
              </a:rPr>
              <a:t>calosum</a:t>
            </a:r>
            <a:r>
              <a:rPr lang="cs-CZ" sz="2400" dirty="0">
                <a:latin typeface="Arial" panose="020B0604020202020204" pitchFamily="34" charset="0"/>
                <a:cs typeface="Arial" panose="020B0604020202020204" pitchFamily="34" charset="0"/>
              </a:rPr>
              <a:t>) se vtlačuje pod </a:t>
            </a:r>
            <a:r>
              <a:rPr lang="cs-CZ" sz="2400" dirty="0" err="1">
                <a:latin typeface="Arial" panose="020B0604020202020204" pitchFamily="34" charset="0"/>
                <a:cs typeface="Arial" panose="020B0604020202020204" pitchFamily="34" charset="0"/>
              </a:rPr>
              <a:t>falx</a:t>
            </a:r>
            <a:r>
              <a:rPr lang="cs-CZ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2400" dirty="0" err="1">
                <a:latin typeface="Arial" panose="020B0604020202020204" pitchFamily="34" charset="0"/>
                <a:cs typeface="Arial" panose="020B0604020202020204" pitchFamily="34" charset="0"/>
              </a:rPr>
              <a:t>cerebri</a:t>
            </a:r>
            <a:r>
              <a:rPr lang="cs-CZ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cs-CZ" sz="2400" dirty="0">
                <a:latin typeface="Arial" panose="020B0604020202020204" pitchFamily="34" charset="0"/>
                <a:cs typeface="Arial" panose="020B0604020202020204" pitchFamily="34" charset="0"/>
              </a:rPr>
              <a:t>typicky při jednostranných procesech ve frontálním laloku </a:t>
            </a:r>
          </a:p>
          <a:p>
            <a:r>
              <a:rPr lang="cs-CZ" sz="2400" dirty="0">
                <a:latin typeface="Arial" panose="020B0604020202020204" pitchFamily="34" charset="0"/>
                <a:cs typeface="Arial" panose="020B0604020202020204" pitchFamily="34" charset="0"/>
              </a:rPr>
              <a:t>patrná jak na CT tak na angiografii (přesun </a:t>
            </a:r>
            <a:r>
              <a:rPr lang="cs-CZ" sz="2400" dirty="0" err="1">
                <a:latin typeface="Arial" panose="020B0604020202020204" pitchFamily="34" charset="0"/>
                <a:cs typeface="Arial" panose="020B0604020202020204" pitchFamily="34" charset="0"/>
              </a:rPr>
              <a:t>a.cerebri</a:t>
            </a:r>
            <a:r>
              <a:rPr lang="cs-CZ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2400" dirty="0" err="1">
                <a:latin typeface="Arial" panose="020B0604020202020204" pitchFamily="34" charset="0"/>
                <a:cs typeface="Arial" panose="020B0604020202020204" pitchFamily="34" charset="0"/>
              </a:rPr>
              <a:t>anterior</a:t>
            </a:r>
            <a:r>
              <a:rPr lang="cs-CZ" sz="2400" dirty="0">
                <a:latin typeface="Arial" panose="020B0604020202020204" pitchFamily="34" charset="0"/>
                <a:cs typeface="Arial" panose="020B0604020202020204" pitchFamily="34" charset="0"/>
              </a:rPr>
              <a:t> pod </a:t>
            </a:r>
            <a:r>
              <a:rPr lang="cs-CZ" sz="2400" dirty="0" err="1">
                <a:latin typeface="Arial" panose="020B0604020202020204" pitchFamily="34" charset="0"/>
                <a:cs typeface="Arial" panose="020B0604020202020204" pitchFamily="34" charset="0"/>
              </a:rPr>
              <a:t>falxem</a:t>
            </a:r>
            <a:r>
              <a:rPr lang="cs-CZ" sz="2400" dirty="0">
                <a:latin typeface="Arial" panose="020B0604020202020204" pitchFamily="34" charset="0"/>
                <a:cs typeface="Arial" panose="020B0604020202020204" pitchFamily="34" charset="0"/>
              </a:rPr>
              <a:t> – signum </a:t>
            </a:r>
            <a:r>
              <a:rPr lang="cs-CZ" sz="2400" dirty="0" err="1">
                <a:latin typeface="Arial" panose="020B0604020202020204" pitchFamily="34" charset="0"/>
                <a:cs typeface="Arial" panose="020B0604020202020204" pitchFamily="34" charset="0"/>
              </a:rPr>
              <a:t>falcis</a:t>
            </a:r>
            <a:r>
              <a:rPr lang="cs-CZ" sz="24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  <a:p>
            <a:r>
              <a:rPr lang="cs-CZ" sz="2400" dirty="0">
                <a:latin typeface="Arial" panose="020B0604020202020204" pitchFamily="34" charset="0"/>
                <a:cs typeface="Arial" panose="020B0604020202020204" pitchFamily="34" charset="0"/>
              </a:rPr>
              <a:t>klinicky nemá nápadnější příznaky </a:t>
            </a:r>
          </a:p>
          <a:p>
            <a:r>
              <a:rPr lang="cs-CZ" sz="2400" dirty="0">
                <a:latin typeface="Arial" panose="020B0604020202020204" pitchFamily="34" charset="0"/>
                <a:cs typeface="Arial" panose="020B0604020202020204" pitchFamily="34" charset="0"/>
              </a:rPr>
              <a:t>může ale dojít ke kompresi či zalomení a</a:t>
            </a:r>
            <a:r>
              <a:rPr lang="cs-CZ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cs-CZ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erebri</a:t>
            </a:r>
            <a:r>
              <a:rPr lang="cs-CZ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2400" dirty="0" err="1">
                <a:latin typeface="Arial" panose="020B0604020202020204" pitchFamily="34" charset="0"/>
                <a:cs typeface="Arial" panose="020B0604020202020204" pitchFamily="34" charset="0"/>
              </a:rPr>
              <a:t>anterior</a:t>
            </a:r>
            <a:r>
              <a:rPr lang="cs-CZ" sz="2400" dirty="0">
                <a:latin typeface="Arial" panose="020B0604020202020204" pitchFamily="34" charset="0"/>
                <a:cs typeface="Arial" panose="020B0604020202020204" pitchFamily="34" charset="0"/>
              </a:rPr>
              <a:t> – ischémie – prohloubí symptomatologii (obrna DK…) 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660534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cs-CZ" dirty="0" smtClean="0"/>
          </a:p>
          <a:p>
            <a:endParaRPr lang="cs-CZ" dirty="0"/>
          </a:p>
          <a:p>
            <a:endParaRPr lang="cs-CZ" dirty="0" smtClean="0"/>
          </a:p>
          <a:p>
            <a:endParaRPr lang="cs-CZ" dirty="0"/>
          </a:p>
          <a:p>
            <a:endParaRPr lang="cs-CZ" dirty="0" smtClean="0"/>
          </a:p>
          <a:p>
            <a:endParaRPr lang="cs-CZ" dirty="0"/>
          </a:p>
          <a:p>
            <a:endParaRPr lang="cs-CZ" dirty="0" smtClean="0"/>
          </a:p>
          <a:p>
            <a:r>
              <a:rPr lang="cs-CZ" dirty="0" smtClean="0"/>
              <a:t>3 - </a:t>
            </a:r>
            <a:r>
              <a:rPr lang="cs-CZ" dirty="0" err="1" smtClean="0"/>
              <a:t>cingulární</a:t>
            </a:r>
            <a:endParaRPr lang="cs-CZ" dirty="0"/>
          </a:p>
        </p:txBody>
      </p:sp>
      <p:pic>
        <p:nvPicPr>
          <p:cNvPr id="2050" name="Picture 2" descr="Soubor:Brain herniation types-2.sv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4769" y="116632"/>
            <a:ext cx="5257800" cy="5705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61928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b="1" dirty="0"/>
              <a:t>Centrální </a:t>
            </a:r>
            <a:r>
              <a:rPr lang="cs-CZ" sz="3600" b="1" dirty="0" err="1"/>
              <a:t>herniace</a:t>
            </a:r>
            <a:r>
              <a:rPr lang="cs-CZ" sz="3600" b="1" dirty="0"/>
              <a:t> (</a:t>
            </a:r>
            <a:r>
              <a:rPr lang="cs-CZ" sz="3600" b="1" dirty="0" err="1"/>
              <a:t>transtentoriální</a:t>
            </a:r>
            <a:r>
              <a:rPr lang="cs-CZ" sz="3600" b="1" dirty="0"/>
              <a:t>)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340768"/>
            <a:ext cx="8229600" cy="4785395"/>
          </a:xfrm>
        </p:spPr>
        <p:txBody>
          <a:bodyPr/>
          <a:lstStyle/>
          <a:p>
            <a:r>
              <a:rPr lang="cs-CZ" sz="2000" b="1" dirty="0"/>
              <a:t>Descendentní </a:t>
            </a:r>
            <a:r>
              <a:rPr lang="cs-CZ" sz="2000" b="1" dirty="0" err="1"/>
              <a:t>transtentoriální</a:t>
            </a:r>
            <a:r>
              <a:rPr lang="cs-CZ" sz="2000" b="1" dirty="0"/>
              <a:t> </a:t>
            </a:r>
            <a:r>
              <a:rPr lang="cs-CZ" sz="2000" b="1" dirty="0" err="1"/>
              <a:t>herniace</a:t>
            </a:r>
            <a:r>
              <a:rPr lang="cs-CZ" sz="2000" b="1" dirty="0"/>
              <a:t> − laterální</a:t>
            </a:r>
          </a:p>
          <a:p>
            <a:r>
              <a:rPr lang="cs-CZ" sz="2000" dirty="0"/>
              <a:t>Temporální </a:t>
            </a:r>
            <a:r>
              <a:rPr lang="cs-CZ" sz="2000" dirty="0" smtClean="0"/>
              <a:t>(2) či </a:t>
            </a:r>
            <a:r>
              <a:rPr lang="cs-CZ" sz="2000" dirty="0" err="1"/>
              <a:t>unkální</a:t>
            </a:r>
            <a:r>
              <a:rPr lang="cs-CZ" sz="2000" dirty="0"/>
              <a:t> </a:t>
            </a:r>
            <a:r>
              <a:rPr lang="cs-CZ" sz="2000" dirty="0" err="1"/>
              <a:t>konus</a:t>
            </a:r>
            <a:r>
              <a:rPr lang="cs-CZ" sz="2000" dirty="0"/>
              <a:t> </a:t>
            </a:r>
            <a:r>
              <a:rPr lang="cs-CZ" sz="2000" dirty="0" smtClean="0"/>
              <a:t>(1) zejména </a:t>
            </a:r>
            <a:r>
              <a:rPr lang="cs-CZ" sz="2000" dirty="0"/>
              <a:t>při ložiskových procesech temporálních aj.</a:t>
            </a:r>
          </a:p>
          <a:p>
            <a:r>
              <a:rPr lang="cs-CZ" sz="2000" b="1" dirty="0"/>
              <a:t>Klinické projevy:</a:t>
            </a:r>
            <a:endParaRPr lang="cs-CZ" sz="2000" dirty="0"/>
          </a:p>
          <a:p>
            <a:pPr lvl="0"/>
            <a:r>
              <a:rPr lang="cs-CZ" sz="2000" b="1" dirty="0" err="1"/>
              <a:t>ipsilaterální</a:t>
            </a:r>
            <a:r>
              <a:rPr lang="cs-CZ" sz="2000" b="1" dirty="0"/>
              <a:t> mydriáza</a:t>
            </a:r>
            <a:r>
              <a:rPr lang="cs-CZ" sz="2000" dirty="0"/>
              <a:t> s vyhaslou fotoreakcí až </a:t>
            </a:r>
            <a:r>
              <a:rPr lang="cs-CZ" sz="2000" b="1" dirty="0"/>
              <a:t>kompletní paréza n. III</a:t>
            </a:r>
            <a:endParaRPr lang="cs-CZ" sz="2000" dirty="0"/>
          </a:p>
          <a:p>
            <a:pPr lvl="0"/>
            <a:r>
              <a:rPr lang="cs-CZ" sz="2000" dirty="0"/>
              <a:t>při laterálním tlaku na kmen mozkový </a:t>
            </a:r>
            <a:r>
              <a:rPr lang="cs-CZ" sz="2000" b="1" dirty="0"/>
              <a:t>porucha vědomí s kontralaterální </a:t>
            </a:r>
            <a:r>
              <a:rPr lang="cs-CZ" sz="2000" b="1" dirty="0" err="1"/>
              <a:t>hemiparézou</a:t>
            </a:r>
            <a:r>
              <a:rPr lang="cs-CZ" sz="2000" dirty="0"/>
              <a:t>, </a:t>
            </a:r>
            <a:r>
              <a:rPr lang="cs-CZ" sz="2000" b="1" dirty="0" err="1"/>
              <a:t>decerebrační</a:t>
            </a:r>
            <a:r>
              <a:rPr lang="cs-CZ" sz="2000" b="1" dirty="0"/>
              <a:t> křeče</a:t>
            </a:r>
            <a:r>
              <a:rPr lang="cs-CZ" sz="2000" dirty="0"/>
              <a:t>, při progresi </a:t>
            </a:r>
            <a:r>
              <a:rPr lang="cs-CZ" sz="2000" b="1" dirty="0"/>
              <a:t>postižení dechových a oběhových center</a:t>
            </a:r>
            <a:endParaRPr lang="cs-CZ" sz="2000" dirty="0"/>
          </a:p>
          <a:p>
            <a:pPr lvl="0"/>
            <a:r>
              <a:rPr lang="cs-CZ" sz="2000" dirty="0"/>
              <a:t>při přetlačení kmene na opačnou stranu může útlakem o </a:t>
            </a:r>
            <a:r>
              <a:rPr lang="cs-CZ" sz="2000" dirty="0" err="1"/>
              <a:t>tentorium</a:t>
            </a:r>
            <a:r>
              <a:rPr lang="cs-CZ" sz="2000" dirty="0"/>
              <a:t> i zde vzniknout </a:t>
            </a:r>
            <a:r>
              <a:rPr lang="cs-CZ" sz="2000" b="1" dirty="0"/>
              <a:t>mydriáza</a:t>
            </a:r>
            <a:r>
              <a:rPr lang="cs-CZ" sz="2000" dirty="0"/>
              <a:t>, která je pak </a:t>
            </a:r>
            <a:r>
              <a:rPr lang="cs-CZ" sz="2000" b="1" dirty="0"/>
              <a:t>kontralaterální</a:t>
            </a:r>
            <a:r>
              <a:rPr lang="cs-CZ" sz="2000" dirty="0"/>
              <a:t>, zatímco </a:t>
            </a:r>
            <a:r>
              <a:rPr lang="cs-CZ" sz="2000" b="1" dirty="0" err="1"/>
              <a:t>hemiparéza</a:t>
            </a:r>
            <a:r>
              <a:rPr lang="cs-CZ" sz="2000" dirty="0"/>
              <a:t> je ke </a:t>
            </a:r>
            <a:r>
              <a:rPr lang="cs-CZ" sz="2000" dirty="0" err="1"/>
              <a:t>konusu</a:t>
            </a:r>
            <a:r>
              <a:rPr lang="cs-CZ" sz="2000" dirty="0"/>
              <a:t> </a:t>
            </a:r>
            <a:r>
              <a:rPr lang="cs-CZ" sz="2000" b="1" dirty="0" err="1"/>
              <a:t>ipsilaterální</a:t>
            </a:r>
            <a:endParaRPr lang="cs-CZ" sz="2000" dirty="0"/>
          </a:p>
          <a:p>
            <a:pPr lvl="0"/>
            <a:r>
              <a:rPr lang="cs-CZ" sz="2000" dirty="0"/>
              <a:t>při tlaku </a:t>
            </a:r>
            <a:r>
              <a:rPr lang="cs-CZ" sz="2000" dirty="0" err="1"/>
              <a:t>tentoria</a:t>
            </a:r>
            <a:r>
              <a:rPr lang="cs-CZ" sz="2000" dirty="0"/>
              <a:t> na a. </a:t>
            </a:r>
            <a:r>
              <a:rPr lang="cs-CZ" sz="2000" dirty="0" err="1"/>
              <a:t>cerebri</a:t>
            </a:r>
            <a:r>
              <a:rPr lang="cs-CZ" sz="2000" dirty="0"/>
              <a:t> </a:t>
            </a:r>
            <a:r>
              <a:rPr lang="cs-CZ" sz="2000" dirty="0" err="1"/>
              <a:t>posterior</a:t>
            </a:r>
            <a:r>
              <a:rPr lang="cs-CZ" sz="2000" dirty="0"/>
              <a:t> − </a:t>
            </a:r>
            <a:r>
              <a:rPr lang="cs-CZ" sz="2000" b="1" dirty="0"/>
              <a:t>infarkt</a:t>
            </a:r>
            <a:r>
              <a:rPr lang="cs-CZ" sz="2000" dirty="0"/>
              <a:t> v jejím povodí</a:t>
            </a:r>
          </a:p>
          <a:p>
            <a:pPr marL="0" indent="0">
              <a:buNone/>
            </a:pPr>
            <a:endParaRPr lang="cs-CZ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04301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cs-CZ" dirty="0" smtClean="0"/>
          </a:p>
          <a:p>
            <a:endParaRPr lang="cs-CZ" dirty="0"/>
          </a:p>
          <a:p>
            <a:endParaRPr lang="cs-CZ" dirty="0" smtClean="0"/>
          </a:p>
          <a:p>
            <a:endParaRPr lang="cs-CZ" dirty="0"/>
          </a:p>
          <a:p>
            <a:endParaRPr lang="cs-CZ" dirty="0" smtClean="0"/>
          </a:p>
          <a:p>
            <a:endParaRPr lang="cs-CZ" dirty="0"/>
          </a:p>
          <a:p>
            <a:endParaRPr lang="cs-CZ" dirty="0" smtClean="0"/>
          </a:p>
          <a:p>
            <a:r>
              <a:rPr lang="cs-CZ" dirty="0" smtClean="0"/>
              <a:t>1 – </a:t>
            </a:r>
            <a:r>
              <a:rPr lang="cs-CZ" dirty="0" err="1" smtClean="0"/>
              <a:t>unkální</a:t>
            </a:r>
            <a:r>
              <a:rPr lang="cs-CZ" dirty="0" smtClean="0"/>
              <a:t>, 2- centrální</a:t>
            </a:r>
            <a:endParaRPr lang="cs-CZ" dirty="0"/>
          </a:p>
        </p:txBody>
      </p:sp>
      <p:pic>
        <p:nvPicPr>
          <p:cNvPr id="2050" name="Picture 2" descr="Soubor:Brain herniation types-2.sv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4769" y="116632"/>
            <a:ext cx="5257800" cy="5705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59385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b="1" dirty="0"/>
              <a:t>Centrální </a:t>
            </a:r>
            <a:r>
              <a:rPr lang="cs-CZ" sz="3600" b="1" dirty="0" err="1"/>
              <a:t>herniace</a:t>
            </a:r>
            <a:r>
              <a:rPr lang="cs-CZ" sz="3600" b="1" dirty="0"/>
              <a:t> (</a:t>
            </a:r>
            <a:r>
              <a:rPr lang="cs-CZ" sz="3600" b="1" dirty="0" err="1"/>
              <a:t>transtentoriální</a:t>
            </a:r>
            <a:r>
              <a:rPr lang="cs-CZ" sz="3600" b="1" dirty="0"/>
              <a:t>)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340768"/>
            <a:ext cx="8229600" cy="4785395"/>
          </a:xfrm>
        </p:spPr>
        <p:txBody>
          <a:bodyPr/>
          <a:lstStyle/>
          <a:p>
            <a:pPr marL="0" indent="0">
              <a:buNone/>
            </a:pPr>
            <a:r>
              <a:rPr lang="cs-CZ" sz="2000" b="1" dirty="0"/>
              <a:t>Descendentní </a:t>
            </a:r>
            <a:r>
              <a:rPr lang="cs-CZ" sz="2000" b="1" dirty="0" err="1"/>
              <a:t>transtentoriální</a:t>
            </a:r>
            <a:r>
              <a:rPr lang="cs-CZ" sz="2000" b="1" dirty="0"/>
              <a:t> </a:t>
            </a:r>
            <a:r>
              <a:rPr lang="cs-CZ" sz="2000" b="1" dirty="0" err="1"/>
              <a:t>herniace</a:t>
            </a:r>
            <a:r>
              <a:rPr lang="cs-CZ" sz="2000" b="1" dirty="0"/>
              <a:t> − centrální</a:t>
            </a:r>
          </a:p>
          <a:p>
            <a:r>
              <a:rPr lang="cs-CZ" sz="2000" dirty="0"/>
              <a:t>Axiální − zejména při symetrickém zvýšení nitrolebního tlaku, posun </a:t>
            </a:r>
            <a:r>
              <a:rPr lang="cs-CZ" sz="2000" dirty="0" err="1"/>
              <a:t>diencefala</a:t>
            </a:r>
            <a:r>
              <a:rPr lang="cs-CZ" sz="2000" dirty="0"/>
              <a:t> a </a:t>
            </a:r>
            <a:r>
              <a:rPr lang="cs-CZ" sz="2000" dirty="0" err="1"/>
              <a:t>mezencefala</a:t>
            </a:r>
            <a:r>
              <a:rPr lang="cs-CZ" sz="2000" dirty="0"/>
              <a:t> kaudálně − vede k mechanickému postižení mozku, díky tahu natržení perforujících cév s vícečetnými hemoragiemi či infarkty kmene mozkového</a:t>
            </a:r>
          </a:p>
          <a:p>
            <a:r>
              <a:rPr lang="cs-CZ" sz="2000" b="1" dirty="0"/>
              <a:t>Klinické projevy:</a:t>
            </a:r>
            <a:endParaRPr lang="cs-CZ" sz="2000" dirty="0"/>
          </a:p>
          <a:p>
            <a:pPr lvl="0"/>
            <a:r>
              <a:rPr lang="cs-CZ" sz="2000" b="1" dirty="0"/>
              <a:t>kvantitativní porucha vědomí</a:t>
            </a:r>
            <a:r>
              <a:rPr lang="cs-CZ" sz="2000" dirty="0"/>
              <a:t>, </a:t>
            </a:r>
            <a:r>
              <a:rPr lang="cs-CZ" sz="2000" b="1" dirty="0"/>
              <a:t>dekortikační rigidita</a:t>
            </a:r>
            <a:r>
              <a:rPr lang="cs-CZ" sz="2000" dirty="0"/>
              <a:t> se spastickými projevy, při progresi obraz </a:t>
            </a:r>
            <a:r>
              <a:rPr lang="cs-CZ" sz="2000" b="1" dirty="0"/>
              <a:t>decerebrace</a:t>
            </a:r>
            <a:r>
              <a:rPr lang="cs-CZ" sz="2000" dirty="0"/>
              <a:t>, </a:t>
            </a:r>
            <a:r>
              <a:rPr lang="cs-CZ" sz="2000" b="1" dirty="0"/>
              <a:t>poruchy dýchání</a:t>
            </a:r>
            <a:endParaRPr lang="cs-CZ" sz="2000" dirty="0"/>
          </a:p>
          <a:p>
            <a:pPr lvl="0"/>
            <a:r>
              <a:rPr lang="cs-CZ" sz="2000" b="1" dirty="0"/>
              <a:t>léze </a:t>
            </a:r>
            <a:r>
              <a:rPr lang="cs-CZ" sz="2000" b="1" dirty="0" err="1"/>
              <a:t>diencefala</a:t>
            </a:r>
            <a:r>
              <a:rPr lang="cs-CZ" sz="2000" dirty="0"/>
              <a:t> – zornice </a:t>
            </a:r>
            <a:r>
              <a:rPr lang="cs-CZ" sz="2000" dirty="0" err="1"/>
              <a:t>miotické</a:t>
            </a:r>
            <a:r>
              <a:rPr lang="cs-CZ" sz="2000" dirty="0"/>
              <a:t>, reagující</a:t>
            </a:r>
          </a:p>
          <a:p>
            <a:pPr lvl="0"/>
            <a:r>
              <a:rPr lang="cs-CZ" sz="2000" b="1" dirty="0"/>
              <a:t>léze </a:t>
            </a:r>
            <a:r>
              <a:rPr lang="cs-CZ" sz="2000" b="1" dirty="0" err="1"/>
              <a:t>mezencefala</a:t>
            </a:r>
            <a:r>
              <a:rPr lang="cs-CZ" sz="2000" dirty="0"/>
              <a:t> – zornice středně široké nebo mydriatické, fixované</a:t>
            </a:r>
          </a:p>
          <a:p>
            <a:pPr marL="0" indent="0">
              <a:buNone/>
            </a:pPr>
            <a:endParaRPr lang="cs-CZ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20969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cs-CZ" dirty="0" smtClean="0"/>
          </a:p>
          <a:p>
            <a:endParaRPr lang="cs-CZ" dirty="0"/>
          </a:p>
          <a:p>
            <a:endParaRPr lang="cs-CZ" dirty="0" smtClean="0"/>
          </a:p>
          <a:p>
            <a:endParaRPr lang="cs-CZ" dirty="0"/>
          </a:p>
          <a:p>
            <a:endParaRPr lang="cs-CZ" dirty="0" smtClean="0"/>
          </a:p>
          <a:p>
            <a:endParaRPr lang="cs-CZ" dirty="0"/>
          </a:p>
          <a:p>
            <a:endParaRPr lang="cs-CZ" dirty="0" smtClean="0"/>
          </a:p>
          <a:p>
            <a:r>
              <a:rPr lang="cs-CZ" dirty="0" smtClean="0"/>
              <a:t>2 - centrální</a:t>
            </a:r>
            <a:endParaRPr lang="cs-CZ" dirty="0"/>
          </a:p>
        </p:txBody>
      </p:sp>
      <p:pic>
        <p:nvPicPr>
          <p:cNvPr id="2050" name="Picture 2" descr="Soubor:Brain herniation types-2.sv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4769" y="116632"/>
            <a:ext cx="5257800" cy="5705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59385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b="1" dirty="0"/>
              <a:t>Centrální </a:t>
            </a:r>
            <a:r>
              <a:rPr lang="cs-CZ" sz="3600" b="1" dirty="0" err="1"/>
              <a:t>herniace</a:t>
            </a:r>
            <a:r>
              <a:rPr lang="cs-CZ" sz="3600" b="1" dirty="0"/>
              <a:t> (</a:t>
            </a:r>
            <a:r>
              <a:rPr lang="cs-CZ" sz="3600" b="1" dirty="0" err="1"/>
              <a:t>transtentoriální</a:t>
            </a:r>
            <a:r>
              <a:rPr lang="cs-CZ" sz="3600" b="1" dirty="0"/>
              <a:t>)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340768"/>
            <a:ext cx="8229600" cy="4785395"/>
          </a:xfrm>
        </p:spPr>
        <p:txBody>
          <a:bodyPr/>
          <a:lstStyle/>
          <a:p>
            <a:pPr marL="0" indent="0">
              <a:buNone/>
            </a:pPr>
            <a:r>
              <a:rPr lang="cs-CZ" sz="2000" b="1" dirty="0"/>
              <a:t>Ascendentní </a:t>
            </a:r>
            <a:r>
              <a:rPr lang="cs-CZ" sz="2000" b="1" dirty="0" err="1"/>
              <a:t>transtentoriální</a:t>
            </a:r>
            <a:r>
              <a:rPr lang="cs-CZ" sz="2000" b="1" dirty="0"/>
              <a:t> </a:t>
            </a:r>
            <a:r>
              <a:rPr lang="cs-CZ" sz="2000" b="1" dirty="0" err="1"/>
              <a:t>herniace</a:t>
            </a:r>
            <a:endParaRPr lang="cs-CZ" sz="2000" b="1" dirty="0"/>
          </a:p>
          <a:p>
            <a:r>
              <a:rPr lang="cs-CZ" sz="2000" dirty="0"/>
              <a:t>Klinické projevy:</a:t>
            </a:r>
          </a:p>
          <a:p>
            <a:pPr lvl="0"/>
            <a:r>
              <a:rPr lang="cs-CZ" sz="2000" dirty="0"/>
              <a:t>nauzea, zvracení</a:t>
            </a:r>
          </a:p>
          <a:p>
            <a:pPr lvl="0"/>
            <a:r>
              <a:rPr lang="cs-CZ" sz="2000" dirty="0" err="1"/>
              <a:t>progredující</a:t>
            </a:r>
            <a:r>
              <a:rPr lang="cs-CZ" sz="2000" dirty="0"/>
              <a:t> porucha vědomí bez lokalizačních příznaků</a:t>
            </a:r>
          </a:p>
          <a:p>
            <a:pPr lvl="0"/>
            <a:r>
              <a:rPr lang="cs-CZ" sz="2000" dirty="0"/>
              <a:t>vývoj obstrukčního hydrocefalu</a:t>
            </a:r>
          </a:p>
          <a:p>
            <a:pPr marL="0" indent="0">
              <a:buNone/>
            </a:pPr>
            <a:endParaRPr lang="cs-CZ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20969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b="1" dirty="0"/>
              <a:t>Okcipitální </a:t>
            </a:r>
            <a:r>
              <a:rPr lang="cs-CZ" sz="3600" b="1" dirty="0" err="1"/>
              <a:t>herniace</a:t>
            </a: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340768"/>
            <a:ext cx="8229600" cy="4785395"/>
          </a:xfrm>
        </p:spPr>
        <p:txBody>
          <a:bodyPr/>
          <a:lstStyle/>
          <a:p>
            <a:r>
              <a:rPr lang="cs-CZ" sz="2000" dirty="0" err="1" smtClean="0"/>
              <a:t>Tonzilární</a:t>
            </a:r>
            <a:r>
              <a:rPr lang="cs-CZ" sz="2000" dirty="0" smtClean="0"/>
              <a:t> </a:t>
            </a:r>
            <a:r>
              <a:rPr lang="cs-CZ" sz="2000" dirty="0"/>
              <a:t>− tonzily mozečku vtlačovány do </a:t>
            </a:r>
            <a:r>
              <a:rPr lang="cs-CZ" sz="2000" dirty="0" err="1"/>
              <a:t>foramen</a:t>
            </a:r>
            <a:r>
              <a:rPr lang="cs-CZ" sz="2000" dirty="0"/>
              <a:t> </a:t>
            </a:r>
            <a:r>
              <a:rPr lang="cs-CZ" sz="2000" dirty="0" err="1"/>
              <a:t>occipitale</a:t>
            </a:r>
            <a:r>
              <a:rPr lang="cs-CZ" sz="2000" dirty="0"/>
              <a:t> </a:t>
            </a:r>
            <a:r>
              <a:rPr lang="cs-CZ" sz="2000" dirty="0" err="1"/>
              <a:t>magnum</a:t>
            </a:r>
            <a:r>
              <a:rPr lang="cs-CZ" sz="2000" dirty="0"/>
              <a:t>, tím dochází ke kompresi </a:t>
            </a:r>
            <a:r>
              <a:rPr lang="cs-CZ" sz="2000" dirty="0" err="1"/>
              <a:t>oblongaty</a:t>
            </a:r>
            <a:r>
              <a:rPr lang="cs-CZ" sz="2000" dirty="0"/>
              <a:t>.</a:t>
            </a:r>
          </a:p>
          <a:p>
            <a:endParaRPr lang="cs-CZ" sz="2000" dirty="0" smtClean="0"/>
          </a:p>
          <a:p>
            <a:r>
              <a:rPr lang="cs-CZ" sz="2000" dirty="0" smtClean="0"/>
              <a:t>Klinické </a:t>
            </a:r>
            <a:r>
              <a:rPr lang="cs-CZ" sz="2000" dirty="0"/>
              <a:t>projevy:</a:t>
            </a:r>
          </a:p>
          <a:p>
            <a:pPr lvl="0"/>
            <a:r>
              <a:rPr lang="cs-CZ" sz="2000" dirty="0"/>
              <a:t>bolest v záhlaví, závratě, zvracení</a:t>
            </a:r>
          </a:p>
          <a:p>
            <a:pPr lvl="0"/>
            <a:r>
              <a:rPr lang="cs-CZ" sz="2000" dirty="0" err="1"/>
              <a:t>opistotonus</a:t>
            </a:r>
            <a:endParaRPr lang="cs-CZ" sz="2000" dirty="0"/>
          </a:p>
          <a:p>
            <a:pPr lvl="0"/>
            <a:r>
              <a:rPr lang="cs-CZ" sz="2000" dirty="0"/>
              <a:t>parestézie obou HK</a:t>
            </a:r>
          </a:p>
          <a:p>
            <a:pPr lvl="0"/>
            <a:r>
              <a:rPr lang="cs-CZ" sz="2000" dirty="0"/>
              <a:t>hrozí rychlá progrese − s postižením dechového a vazomotorického centra, bilaterální mydriáza a pokles svalového tonu</a:t>
            </a:r>
          </a:p>
          <a:p>
            <a:pPr marL="0" indent="0">
              <a:buNone/>
            </a:pPr>
            <a:endParaRPr lang="cs-CZ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20969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cs-CZ" dirty="0" smtClean="0"/>
          </a:p>
          <a:p>
            <a:endParaRPr lang="cs-CZ" dirty="0"/>
          </a:p>
          <a:p>
            <a:endParaRPr lang="cs-CZ" dirty="0" smtClean="0"/>
          </a:p>
          <a:p>
            <a:endParaRPr lang="cs-CZ" dirty="0"/>
          </a:p>
          <a:p>
            <a:endParaRPr lang="cs-CZ" dirty="0" smtClean="0"/>
          </a:p>
          <a:p>
            <a:endParaRPr lang="cs-CZ" dirty="0"/>
          </a:p>
          <a:p>
            <a:endParaRPr lang="cs-CZ" dirty="0" smtClean="0"/>
          </a:p>
          <a:p>
            <a:r>
              <a:rPr lang="cs-CZ" dirty="0"/>
              <a:t>6</a:t>
            </a:r>
            <a:r>
              <a:rPr lang="cs-CZ" dirty="0" smtClean="0"/>
              <a:t> - okcipitální</a:t>
            </a:r>
            <a:endParaRPr lang="cs-CZ" dirty="0"/>
          </a:p>
        </p:txBody>
      </p:sp>
      <p:pic>
        <p:nvPicPr>
          <p:cNvPr id="2050" name="Picture 2" descr="Soubor:Brain herniation types-2.sv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4769" y="116632"/>
            <a:ext cx="5257800" cy="5705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59385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délník 1"/>
          <p:cNvSpPr/>
          <p:nvPr/>
        </p:nvSpPr>
        <p:spPr>
          <a:xfrm>
            <a:off x="0" y="0"/>
            <a:ext cx="9144000" cy="69215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0" y="0"/>
            <a:ext cx="9144000" cy="692150"/>
          </a:xfrm>
          <a:prstGeom prst="rect">
            <a:avLst/>
          </a:prstGeom>
        </p:spPr>
        <p:txBody>
          <a:bodyPr anchor="ctr"/>
          <a:lstStyle/>
          <a:p>
            <a:pPr>
              <a:defRPr/>
            </a:pPr>
            <a:r>
              <a:rPr lang="cs-CZ" b="1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1) Etiologie</a:t>
            </a:r>
            <a:endParaRPr lang="de-DE" b="1" dirty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42" name="Obdélník 41"/>
          <p:cNvSpPr/>
          <p:nvPr/>
        </p:nvSpPr>
        <p:spPr>
          <a:xfrm>
            <a:off x="1476375" y="4581525"/>
            <a:ext cx="287338" cy="26035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Text Box 10"/>
          <p:cNvSpPr txBox="1">
            <a:spLocks noChangeArrowheads="1"/>
          </p:cNvSpPr>
          <p:nvPr/>
        </p:nvSpPr>
        <p:spPr bwMode="auto">
          <a:xfrm>
            <a:off x="1835150" y="4508500"/>
            <a:ext cx="6337300" cy="201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eaLnBrk="0" hangingPunct="0">
              <a:spcBef>
                <a:spcPct val="50000"/>
              </a:spcBef>
              <a:buFont typeface="+mj-lt"/>
              <a:buAutoNum type="arabicParenR"/>
              <a:tabLst>
                <a:tab pos="271463" algn="l"/>
              </a:tabLst>
              <a:defRPr/>
            </a:pP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N – cca 60%</a:t>
            </a:r>
            <a:endParaRPr lang="de-DE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457200" indent="-457200" eaLnBrk="0" hangingPunct="0">
              <a:spcBef>
                <a:spcPct val="50000"/>
              </a:spcBef>
              <a:buFont typeface="+mj-lt"/>
              <a:buAutoNum type="arabicParenR"/>
              <a:tabLst>
                <a:tab pos="271463" algn="l"/>
              </a:tabLst>
              <a:defRPr/>
            </a:pP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ády – cca 10% </a:t>
            </a:r>
            <a:r>
              <a:rPr lang="cs-CZ" sz="1400" dirty="0">
                <a:solidFill>
                  <a:schemeClr val="bg1">
                    <a:lumMod val="50000"/>
                  </a:schemeClr>
                </a:solidFill>
              </a:rPr>
              <a:t>(z toho 90% děti a senioři)</a:t>
            </a:r>
            <a:endParaRPr lang="de-DE" sz="1400" dirty="0">
              <a:solidFill>
                <a:schemeClr val="bg1">
                  <a:lumMod val="50000"/>
                </a:schemeClr>
              </a:solidFill>
            </a:endParaRPr>
          </a:p>
          <a:p>
            <a:pPr marL="457200" indent="-457200" eaLnBrk="0" hangingPunct="0">
              <a:spcBef>
                <a:spcPct val="50000"/>
              </a:spcBef>
              <a:buFont typeface="+mj-lt"/>
              <a:buAutoNum type="arabicParenR"/>
              <a:tabLst>
                <a:tab pos="271463" algn="l"/>
              </a:tabLst>
              <a:defRPr/>
            </a:pP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porty, napadení, střelná poranění – cca 10%</a:t>
            </a:r>
          </a:p>
          <a:p>
            <a:pPr marL="457200" indent="-457200" eaLnBrk="0" hangingPunct="0">
              <a:spcBef>
                <a:spcPct val="50000"/>
              </a:spcBef>
              <a:buFont typeface="+mj-lt"/>
              <a:buAutoNum type="arabicParenR"/>
              <a:tabLst>
                <a:tab pos="271463" algn="l"/>
              </a:tabLst>
              <a:defRPr/>
            </a:pP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ůmysl – cca 8%</a:t>
            </a:r>
          </a:p>
          <a:p>
            <a:pPr marL="457200" indent="-457200" eaLnBrk="0" hangingPunct="0">
              <a:spcBef>
                <a:spcPct val="50000"/>
              </a:spcBef>
              <a:buFont typeface="+mj-lt"/>
              <a:buAutoNum type="arabicParenR"/>
              <a:tabLst>
                <a:tab pos="271463" algn="l"/>
              </a:tabLst>
              <a:defRPr/>
            </a:pP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statní – cca 12%</a:t>
            </a:r>
            <a:endParaRPr lang="de-DE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5" name="Obdélník 44"/>
          <p:cNvSpPr/>
          <p:nvPr/>
        </p:nvSpPr>
        <p:spPr>
          <a:xfrm>
            <a:off x="1476375" y="4941888"/>
            <a:ext cx="287338" cy="25876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Obdélník 45"/>
          <p:cNvSpPr/>
          <p:nvPr/>
        </p:nvSpPr>
        <p:spPr>
          <a:xfrm>
            <a:off x="1476375" y="5300663"/>
            <a:ext cx="287338" cy="26035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Obdélník 46"/>
          <p:cNvSpPr/>
          <p:nvPr/>
        </p:nvSpPr>
        <p:spPr>
          <a:xfrm>
            <a:off x="1476375" y="5661025"/>
            <a:ext cx="287338" cy="2603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Obdélník 15"/>
          <p:cNvSpPr/>
          <p:nvPr/>
        </p:nvSpPr>
        <p:spPr>
          <a:xfrm>
            <a:off x="1476375" y="6021388"/>
            <a:ext cx="287338" cy="260350"/>
          </a:xfrm>
          <a:prstGeom prst="rect">
            <a:avLst/>
          </a:prstGeom>
          <a:solidFill>
            <a:srgbClr val="FF7C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35" name="Obrázek 18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835150" y="692150"/>
            <a:ext cx="5905500" cy="3776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0" y="0"/>
            <a:ext cx="9144000" cy="69215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0" y="0"/>
            <a:ext cx="9144000" cy="692150"/>
          </a:xfrm>
          <a:prstGeom prst="rect">
            <a:avLst/>
          </a:prstGeom>
        </p:spPr>
        <p:txBody>
          <a:bodyPr anchor="ctr"/>
          <a:lstStyle/>
          <a:p>
            <a:r>
              <a:rPr lang="cs-CZ" b="1">
                <a:solidFill>
                  <a:schemeClr val="bg1"/>
                </a:solidFill>
              </a:rPr>
              <a:t>6) Advanced Trauma Life Support</a:t>
            </a:r>
            <a:endParaRPr lang="de-DE" b="1">
              <a:solidFill>
                <a:schemeClr val="bg1"/>
              </a:solidFill>
            </a:endParaRPr>
          </a:p>
        </p:txBody>
      </p:sp>
      <p:sp>
        <p:nvSpPr>
          <p:cNvPr id="44" name="Text Box 10"/>
          <p:cNvSpPr txBox="1">
            <a:spLocks noChangeArrowheads="1"/>
          </p:cNvSpPr>
          <p:nvPr/>
        </p:nvSpPr>
        <p:spPr bwMode="auto">
          <a:xfrm>
            <a:off x="684213" y="1196975"/>
            <a:ext cx="7775575" cy="3384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eaLnBrk="0" hangingPunct="0">
              <a:lnSpc>
                <a:spcPct val="200000"/>
              </a:lnSpc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irway</a:t>
            </a: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cs-CZ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aintenance</a:t>
            </a:r>
            <a:endParaRPr lang="cs-CZ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457200" indent="-457200" eaLnBrk="0" hangingPunct="0">
              <a:lnSpc>
                <a:spcPct val="200000"/>
              </a:lnSpc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reathing</a:t>
            </a: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cs-CZ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nd</a:t>
            </a: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cs-CZ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ventilation</a:t>
            </a:r>
            <a:endParaRPr lang="cs-CZ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457200" indent="-457200" eaLnBrk="0" hangingPunct="0">
              <a:lnSpc>
                <a:spcPct val="200000"/>
              </a:lnSpc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irculation</a:t>
            </a: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cs-CZ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with</a:t>
            </a: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cs-CZ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haemorrhage</a:t>
            </a: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cs-CZ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trol</a:t>
            </a:r>
            <a:endParaRPr lang="cs-CZ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457200" indent="-457200" eaLnBrk="0" hangingPunct="0">
              <a:lnSpc>
                <a:spcPct val="200000"/>
              </a:lnSpc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isability</a:t>
            </a: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cs-CZ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ssessment</a:t>
            </a: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cs-CZ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eurological</a:t>
            </a: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status</a:t>
            </a:r>
          </a:p>
          <a:p>
            <a:pPr marL="457200" indent="-457200" eaLnBrk="0" hangingPunct="0">
              <a:lnSpc>
                <a:spcPct val="200000"/>
              </a:lnSpc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xposure</a:t>
            </a: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cs-CZ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nd</a:t>
            </a: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cs-CZ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nvironmental</a:t>
            </a: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cs-CZ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ontrol</a:t>
            </a:r>
            <a:endParaRPr lang="cs-CZ" sz="16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21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990600"/>
            <a:ext cx="8153400" cy="5257800"/>
          </a:xfrm>
        </p:spPr>
        <p:txBody>
          <a:bodyPr/>
          <a:lstStyle/>
          <a:p>
            <a:pPr>
              <a:lnSpc>
                <a:spcPct val="90000"/>
              </a:lnSpc>
              <a:buFontTx/>
              <a:buNone/>
              <a:defRPr/>
            </a:pPr>
            <a:endParaRPr lang="cs-CZ" sz="1800" b="1" dirty="0">
              <a:solidFill>
                <a:srgbClr val="FFCC00"/>
              </a:solidFill>
            </a:endParaRPr>
          </a:p>
          <a:p>
            <a:pPr>
              <a:lnSpc>
                <a:spcPct val="90000"/>
              </a:lnSpc>
              <a:buFontTx/>
              <a:buNone/>
              <a:defRPr/>
            </a:pPr>
            <a:r>
              <a:rPr lang="cs-CZ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ělké </a:t>
            </a:r>
            <a:r>
              <a:rPr lang="cs-CZ" sz="1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vrchní dýchání </a:t>
            </a:r>
            <a:r>
              <a:rPr lang="cs-CZ" sz="1800" b="1" dirty="0" smtClean="0">
                <a:solidFill>
                  <a:schemeClr val="bg1">
                    <a:lumMod val="50000"/>
                  </a:schemeClr>
                </a:solidFill>
              </a:rPr>
              <a:t>- </a:t>
            </a:r>
            <a:r>
              <a:rPr lang="cs-CZ" sz="1800" dirty="0" err="1" smtClean="0">
                <a:solidFill>
                  <a:schemeClr val="bg1">
                    <a:lumMod val="50000"/>
                  </a:schemeClr>
                </a:solidFill>
              </a:rPr>
              <a:t>hypoxémie</a:t>
            </a:r>
            <a:r>
              <a:rPr lang="cs-CZ" sz="18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cs-CZ" sz="1800" dirty="0" err="1">
                <a:solidFill>
                  <a:schemeClr val="bg1">
                    <a:lumMod val="50000"/>
                  </a:schemeClr>
                </a:solidFill>
              </a:rPr>
              <a:t>hypo</a:t>
            </a:r>
            <a:r>
              <a:rPr lang="cs-CZ" sz="1800" dirty="0">
                <a:solidFill>
                  <a:schemeClr val="bg1">
                    <a:lumMod val="50000"/>
                  </a:schemeClr>
                </a:solidFill>
              </a:rPr>
              <a:t>-</a:t>
            </a:r>
            <a:r>
              <a:rPr lang="cs-CZ" sz="1800" dirty="0" err="1">
                <a:solidFill>
                  <a:schemeClr val="bg1">
                    <a:lumMod val="50000"/>
                  </a:schemeClr>
                </a:solidFill>
              </a:rPr>
              <a:t>hypercapnie</a:t>
            </a:r>
            <a:r>
              <a:rPr lang="cs-CZ" sz="18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endParaRPr lang="cs-CZ" sz="1800" b="1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buFontTx/>
              <a:buNone/>
              <a:defRPr/>
            </a:pPr>
            <a:endParaRPr lang="cs-CZ" sz="1800" b="1" dirty="0" smtClean="0">
              <a:solidFill>
                <a:srgbClr val="FFCC00"/>
              </a:solidFill>
            </a:endParaRPr>
          </a:p>
          <a:p>
            <a:pPr>
              <a:lnSpc>
                <a:spcPct val="90000"/>
              </a:lnSpc>
              <a:buFontTx/>
              <a:buNone/>
              <a:defRPr/>
            </a:pPr>
            <a:r>
              <a:rPr lang="cs-CZ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+ </a:t>
            </a:r>
            <a:r>
              <a:rPr lang="cs-CZ" sz="1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edostatečná </a:t>
            </a:r>
            <a:r>
              <a:rPr lang="cs-CZ" sz="18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nalgézie</a:t>
            </a:r>
            <a:r>
              <a:rPr lang="cs-CZ" sz="1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cs-CZ" sz="1800" dirty="0">
                <a:solidFill>
                  <a:schemeClr val="bg1">
                    <a:lumMod val="50000"/>
                  </a:schemeClr>
                </a:solidFill>
              </a:rPr>
              <a:t>stresová </a:t>
            </a:r>
            <a:r>
              <a:rPr lang="cs-CZ" sz="1800" dirty="0" err="1">
                <a:solidFill>
                  <a:schemeClr val="bg1">
                    <a:lumMod val="50000"/>
                  </a:schemeClr>
                </a:solidFill>
              </a:rPr>
              <a:t>odpověd</a:t>
            </a:r>
            <a:r>
              <a:rPr lang="cs-CZ" sz="1800" dirty="0">
                <a:solidFill>
                  <a:schemeClr val="bg1">
                    <a:lumMod val="50000"/>
                  </a:schemeClr>
                </a:solidFill>
              </a:rPr>
              <a:t> s </a:t>
            </a:r>
            <a:r>
              <a:rPr lang="cs-CZ" sz="18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▲</a:t>
            </a:r>
            <a:r>
              <a:rPr lang="cs-CZ" sz="1800" dirty="0" smtClean="0">
                <a:solidFill>
                  <a:schemeClr val="bg1">
                    <a:lumMod val="50000"/>
                  </a:schemeClr>
                </a:solidFill>
                <a:sym typeface="Wingdings" pitchFamily="2" charset="2"/>
              </a:rPr>
              <a:t> </a:t>
            </a:r>
            <a:r>
              <a:rPr lang="cs-CZ" sz="1800" dirty="0">
                <a:solidFill>
                  <a:schemeClr val="bg1">
                    <a:lumMod val="50000"/>
                  </a:schemeClr>
                </a:solidFill>
                <a:sym typeface="Wingdings" pitchFamily="2" charset="2"/>
              </a:rPr>
              <a:t>metabolismu mozku, </a:t>
            </a:r>
            <a:endParaRPr lang="cs-CZ" sz="1800" dirty="0" smtClean="0">
              <a:solidFill>
                <a:schemeClr val="bg1">
                  <a:lumMod val="50000"/>
                </a:schemeClr>
              </a:solidFill>
              <a:sym typeface="Wingdings" pitchFamily="2" charset="2"/>
            </a:endParaRPr>
          </a:p>
          <a:p>
            <a:pPr>
              <a:lnSpc>
                <a:spcPct val="90000"/>
              </a:lnSpc>
              <a:buFontTx/>
              <a:buNone/>
              <a:defRPr/>
            </a:pPr>
            <a:r>
              <a:rPr lang="cs-CZ" sz="1800" dirty="0" smtClean="0">
                <a:solidFill>
                  <a:schemeClr val="bg1">
                    <a:lumMod val="50000"/>
                  </a:schemeClr>
                </a:solidFill>
                <a:sym typeface="Wingdings" pitchFamily="2" charset="2"/>
              </a:rPr>
              <a:t>			            hyperglykémií</a:t>
            </a:r>
            <a:endParaRPr lang="cs-CZ" sz="1800" dirty="0">
              <a:solidFill>
                <a:schemeClr val="bg1">
                  <a:lumMod val="50000"/>
                </a:schemeClr>
              </a:solidFill>
              <a:sym typeface="Wingdings" pitchFamily="2" charset="2"/>
            </a:endParaRPr>
          </a:p>
          <a:p>
            <a:pPr algn="ctr">
              <a:lnSpc>
                <a:spcPct val="90000"/>
              </a:lnSpc>
              <a:buFontTx/>
              <a:buNone/>
              <a:defRPr/>
            </a:pPr>
            <a:endParaRPr lang="cs-CZ" sz="1800" dirty="0">
              <a:sym typeface="Wingdings" pitchFamily="2" charset="2"/>
            </a:endParaRPr>
          </a:p>
          <a:p>
            <a:pPr>
              <a:lnSpc>
                <a:spcPct val="90000"/>
              </a:lnSpc>
              <a:buFontTx/>
              <a:buNone/>
              <a:defRPr/>
            </a:pPr>
            <a:endParaRPr lang="cs-CZ" sz="1800" b="1" dirty="0" smtClean="0">
              <a:solidFill>
                <a:srgbClr val="FFCC00"/>
              </a:solidFill>
              <a:sym typeface="Wingdings" pitchFamily="2" charset="2"/>
            </a:endParaRPr>
          </a:p>
          <a:p>
            <a:pPr>
              <a:lnSpc>
                <a:spcPct val="90000"/>
              </a:lnSpc>
              <a:buFontTx/>
              <a:buNone/>
              <a:defRPr/>
            </a:pPr>
            <a:endParaRPr lang="cs-CZ" sz="1800" b="1" dirty="0" smtClean="0">
              <a:solidFill>
                <a:srgbClr val="FFCC00"/>
              </a:solidFill>
              <a:sym typeface="Wingdings" pitchFamily="2" charset="2"/>
            </a:endParaRPr>
          </a:p>
          <a:p>
            <a:pPr>
              <a:lnSpc>
                <a:spcPct val="90000"/>
              </a:lnSpc>
              <a:buFontTx/>
              <a:buNone/>
              <a:defRPr/>
            </a:pPr>
            <a:r>
              <a:rPr lang="cs-CZ" sz="1800" b="1" dirty="0" smtClean="0">
                <a:solidFill>
                  <a:srgbClr val="FF0000"/>
                </a:solidFill>
                <a:sym typeface="Wingdings" pitchFamily="2" charset="2"/>
              </a:rPr>
              <a:t>GCS </a:t>
            </a:r>
            <a:r>
              <a:rPr lang="cs-CZ" sz="1800" b="1" dirty="0">
                <a:solidFill>
                  <a:srgbClr val="FF0000"/>
                </a:solidFill>
                <a:cs typeface="Tahoma" pitchFamily="34" charset="0"/>
                <a:sym typeface="Wingdings" pitchFamily="2" charset="2"/>
              </a:rPr>
              <a:t>&lt;</a:t>
            </a:r>
            <a:r>
              <a:rPr lang="cs-CZ" sz="1800" b="1" dirty="0">
                <a:solidFill>
                  <a:srgbClr val="FF0000"/>
                </a:solidFill>
                <a:sym typeface="Wingdings" pitchFamily="2" charset="2"/>
              </a:rPr>
              <a:t>=8</a:t>
            </a:r>
            <a:r>
              <a:rPr lang="cs-CZ" sz="1800" dirty="0">
                <a:solidFill>
                  <a:srgbClr val="FF0000"/>
                </a:solidFill>
                <a:sym typeface="Wingdings" pitchFamily="2" charset="2"/>
              </a:rPr>
              <a:t>          </a:t>
            </a:r>
            <a:r>
              <a:rPr lang="cs-CZ" sz="1800" dirty="0" smtClean="0">
                <a:solidFill>
                  <a:srgbClr val="FF0000"/>
                </a:solidFill>
                <a:sym typeface="Wingdings" pitchFamily="2" charset="2"/>
              </a:rPr>
              <a:t>	</a:t>
            </a:r>
            <a:r>
              <a:rPr lang="cs-CZ" sz="1800" dirty="0" err="1" smtClean="0">
                <a:solidFill>
                  <a:schemeClr val="bg1">
                    <a:lumMod val="50000"/>
                  </a:schemeClr>
                </a:solidFill>
                <a:sym typeface="Wingdings" pitchFamily="2" charset="2"/>
              </a:rPr>
              <a:t>analgézie</a:t>
            </a:r>
            <a:r>
              <a:rPr lang="cs-CZ" sz="1800" dirty="0" smtClean="0">
                <a:solidFill>
                  <a:schemeClr val="bg1">
                    <a:lumMod val="50000"/>
                  </a:schemeClr>
                </a:solidFill>
                <a:sym typeface="Wingdings" pitchFamily="2" charset="2"/>
              </a:rPr>
              <a:t>               </a:t>
            </a:r>
            <a:r>
              <a:rPr lang="cs-CZ" sz="1800" dirty="0" err="1" smtClean="0">
                <a:solidFill>
                  <a:schemeClr val="bg1">
                    <a:lumMod val="50000"/>
                  </a:schemeClr>
                </a:solidFill>
                <a:sym typeface="Wingdings" pitchFamily="2" charset="2"/>
              </a:rPr>
              <a:t>sedace</a:t>
            </a:r>
            <a:r>
              <a:rPr lang="cs-CZ" sz="1800" dirty="0" smtClean="0">
                <a:solidFill>
                  <a:schemeClr val="bg1">
                    <a:lumMod val="50000"/>
                  </a:schemeClr>
                </a:solidFill>
                <a:sym typeface="Wingdings" pitchFamily="2" charset="2"/>
              </a:rPr>
              <a:t>            relaxace            OTI</a:t>
            </a:r>
            <a:endParaRPr lang="cs-CZ" sz="1800" dirty="0">
              <a:solidFill>
                <a:schemeClr val="bg1">
                  <a:lumMod val="50000"/>
                </a:schemeClr>
              </a:solidFill>
              <a:sym typeface="Wingdings" pitchFamily="2" charset="2"/>
            </a:endParaRPr>
          </a:p>
          <a:p>
            <a:pPr>
              <a:lnSpc>
                <a:spcPct val="90000"/>
              </a:lnSpc>
              <a:buFontTx/>
              <a:buNone/>
              <a:defRPr/>
            </a:pPr>
            <a:endParaRPr lang="cs-CZ" sz="1800" dirty="0">
              <a:sym typeface="Wingdings" pitchFamily="2" charset="2"/>
            </a:endParaRPr>
          </a:p>
          <a:p>
            <a:pPr>
              <a:lnSpc>
                <a:spcPct val="90000"/>
              </a:lnSpc>
              <a:buFontTx/>
              <a:buNone/>
              <a:defRPr/>
            </a:pPr>
            <a:r>
              <a:rPr lang="cs-CZ" sz="1800" dirty="0">
                <a:sym typeface="Wingdings" pitchFamily="2" charset="2"/>
              </a:rPr>
              <a:t>	</a:t>
            </a:r>
          </a:p>
          <a:p>
            <a:pPr>
              <a:lnSpc>
                <a:spcPct val="90000"/>
              </a:lnSpc>
              <a:buFontTx/>
              <a:buNone/>
              <a:defRPr/>
            </a:pPr>
            <a:r>
              <a:rPr lang="cs-CZ" sz="1800" b="1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itchFamily="2" charset="2"/>
              </a:rPr>
              <a:t>VENTILACE + </a:t>
            </a:r>
            <a:r>
              <a:rPr lang="cs-CZ" sz="1800" b="1" dirty="0">
                <a:solidFill>
                  <a:srgbClr val="FF0000"/>
                </a:solidFill>
                <a:sym typeface="Wingdings" pitchFamily="2" charset="2"/>
              </a:rPr>
              <a:t>MONITORING </a:t>
            </a:r>
            <a:r>
              <a:rPr lang="cs-CZ" sz="1800" b="1" dirty="0" err="1">
                <a:solidFill>
                  <a:srgbClr val="FF0000"/>
                </a:solidFill>
                <a:sym typeface="Wingdings" pitchFamily="2" charset="2"/>
              </a:rPr>
              <a:t>Et</a:t>
            </a:r>
            <a:r>
              <a:rPr lang="cs-CZ" sz="1800" b="1" dirty="0">
                <a:solidFill>
                  <a:srgbClr val="FF0000"/>
                </a:solidFill>
                <a:sym typeface="Wingdings" pitchFamily="2" charset="2"/>
              </a:rPr>
              <a:t> CO</a:t>
            </a:r>
            <a:r>
              <a:rPr lang="cs-CZ" sz="1800" b="1" baseline="-25000" dirty="0">
                <a:solidFill>
                  <a:srgbClr val="FF0000"/>
                </a:solidFill>
                <a:sym typeface="Wingdings" pitchFamily="2" charset="2"/>
              </a:rPr>
              <a:t>2 </a:t>
            </a:r>
            <a:r>
              <a:rPr lang="cs-CZ" sz="1800" b="1" dirty="0">
                <a:solidFill>
                  <a:srgbClr val="FF0000"/>
                </a:solidFill>
                <a:sym typeface="Wingdings" pitchFamily="2" charset="2"/>
              </a:rPr>
              <a:t> </a:t>
            </a:r>
            <a:r>
              <a:rPr lang="cs-CZ" sz="1800" b="1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Wingdings" pitchFamily="2" charset="2"/>
              </a:rPr>
              <a:t>30-35mmHg</a:t>
            </a:r>
          </a:p>
          <a:p>
            <a:pPr>
              <a:lnSpc>
                <a:spcPct val="90000"/>
              </a:lnSpc>
              <a:buFontTx/>
              <a:buNone/>
              <a:defRPr/>
            </a:pPr>
            <a:endParaRPr lang="cs-CZ" sz="1800" dirty="0" smtClean="0">
              <a:solidFill>
                <a:schemeClr val="bg1">
                  <a:lumMod val="50000"/>
                </a:schemeClr>
              </a:solidFill>
              <a:sym typeface="Wingdings" pitchFamily="2" charset="2"/>
            </a:endParaRPr>
          </a:p>
          <a:p>
            <a:pPr>
              <a:lnSpc>
                <a:spcPct val="90000"/>
              </a:lnSpc>
              <a:buFontTx/>
              <a:buNone/>
              <a:defRPr/>
            </a:pPr>
            <a:r>
              <a:rPr lang="cs-CZ" sz="1800" dirty="0" err="1" smtClean="0">
                <a:solidFill>
                  <a:schemeClr val="bg1">
                    <a:lumMod val="50000"/>
                  </a:schemeClr>
                </a:solidFill>
                <a:sym typeface="Wingdings" pitchFamily="2" charset="2"/>
              </a:rPr>
              <a:t>fiziologickou</a:t>
            </a:r>
            <a:r>
              <a:rPr lang="cs-CZ" sz="1800" dirty="0" smtClean="0">
                <a:solidFill>
                  <a:schemeClr val="bg1">
                    <a:lumMod val="50000"/>
                  </a:schemeClr>
                </a:solidFill>
                <a:sym typeface="Wingdings" pitchFamily="2" charset="2"/>
              </a:rPr>
              <a:t> </a:t>
            </a:r>
            <a:r>
              <a:rPr lang="cs-CZ" sz="1800" dirty="0">
                <a:solidFill>
                  <a:schemeClr val="bg1">
                    <a:lumMod val="50000"/>
                  </a:schemeClr>
                </a:solidFill>
                <a:sym typeface="Wingdings" pitchFamily="2" charset="2"/>
              </a:rPr>
              <a:t>frekvencí, preference </a:t>
            </a:r>
            <a:r>
              <a:rPr lang="cs-CZ" sz="180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  <a:sym typeface="Wingdings" pitchFamily="2" charset="2"/>
              </a:rPr>
              <a:t>▼</a:t>
            </a:r>
            <a:r>
              <a:rPr lang="cs-CZ" sz="1800" dirty="0" smtClean="0">
                <a:solidFill>
                  <a:schemeClr val="bg1">
                    <a:lumMod val="50000"/>
                  </a:schemeClr>
                </a:solidFill>
                <a:sym typeface="Wingdings" pitchFamily="2" charset="2"/>
              </a:rPr>
              <a:t>VT</a:t>
            </a:r>
            <a:r>
              <a:rPr lang="cs-CZ" sz="1800" dirty="0">
                <a:solidFill>
                  <a:schemeClr val="bg1">
                    <a:lumMod val="50000"/>
                  </a:schemeClr>
                </a:solidFill>
                <a:sym typeface="Wingdings" pitchFamily="2" charset="2"/>
              </a:rPr>
              <a:t>, </a:t>
            </a:r>
          </a:p>
          <a:p>
            <a:pPr>
              <a:lnSpc>
                <a:spcPct val="90000"/>
              </a:lnSpc>
              <a:buFontTx/>
              <a:buNone/>
              <a:defRPr/>
            </a:pPr>
            <a:r>
              <a:rPr lang="cs-CZ" sz="1800" dirty="0" smtClean="0">
                <a:solidFill>
                  <a:schemeClr val="bg1">
                    <a:lumMod val="50000"/>
                  </a:schemeClr>
                </a:solidFill>
                <a:sym typeface="Wingdings" pitchFamily="2" charset="2"/>
              </a:rPr>
              <a:t>PEEP </a:t>
            </a:r>
            <a:r>
              <a:rPr lang="cs-CZ" sz="1800" dirty="0">
                <a:solidFill>
                  <a:schemeClr val="bg1">
                    <a:lumMod val="50000"/>
                  </a:schemeClr>
                </a:solidFill>
                <a:sym typeface="Wingdings" pitchFamily="2" charset="2"/>
              </a:rPr>
              <a:t>do 8mmHg </a:t>
            </a:r>
            <a:r>
              <a:rPr lang="cs-CZ" sz="1800" dirty="0" smtClean="0">
                <a:solidFill>
                  <a:schemeClr val="bg1">
                    <a:lumMod val="50000"/>
                  </a:schemeClr>
                </a:solidFill>
                <a:sym typeface="Wingdings" pitchFamily="2" charset="2"/>
              </a:rPr>
              <a:t>	</a:t>
            </a:r>
            <a:endParaRPr lang="cs-CZ" sz="1800" dirty="0">
              <a:solidFill>
                <a:schemeClr val="bg1">
                  <a:lumMod val="50000"/>
                </a:schemeClr>
              </a:solidFill>
              <a:sym typeface="Wingdings" pitchFamily="2" charset="2"/>
            </a:endParaRPr>
          </a:p>
          <a:p>
            <a:pPr>
              <a:lnSpc>
                <a:spcPct val="90000"/>
              </a:lnSpc>
              <a:buFontTx/>
              <a:buNone/>
              <a:defRPr/>
            </a:pPr>
            <a:r>
              <a:rPr lang="cs-CZ" sz="1800" dirty="0" smtClean="0">
                <a:solidFill>
                  <a:schemeClr val="bg1">
                    <a:lumMod val="50000"/>
                  </a:schemeClr>
                </a:solidFill>
                <a:sym typeface="Wingdings" pitchFamily="2" charset="2"/>
              </a:rPr>
              <a:t>zabránění </a:t>
            </a:r>
            <a:r>
              <a:rPr lang="cs-CZ" sz="1800" dirty="0">
                <a:solidFill>
                  <a:schemeClr val="bg1">
                    <a:lumMod val="50000"/>
                  </a:schemeClr>
                </a:solidFill>
                <a:sym typeface="Wingdings" pitchFamily="2" charset="2"/>
              </a:rPr>
              <a:t>interference s řízenou </a:t>
            </a:r>
            <a:r>
              <a:rPr lang="cs-CZ" sz="1800" dirty="0" err="1">
                <a:solidFill>
                  <a:schemeClr val="bg1">
                    <a:lumMod val="50000"/>
                  </a:schemeClr>
                </a:solidFill>
                <a:sym typeface="Wingdings" pitchFamily="2" charset="2"/>
              </a:rPr>
              <a:t>ventlilací</a:t>
            </a:r>
            <a:r>
              <a:rPr lang="cs-CZ" sz="1800" dirty="0">
                <a:solidFill>
                  <a:schemeClr val="bg1">
                    <a:lumMod val="50000"/>
                  </a:schemeClr>
                </a:solidFill>
                <a:sym typeface="Wingdings" pitchFamily="2" charset="2"/>
              </a:rPr>
              <a:t>   	</a:t>
            </a:r>
          </a:p>
          <a:p>
            <a:pPr>
              <a:lnSpc>
                <a:spcPct val="90000"/>
              </a:lnSpc>
              <a:buFontTx/>
              <a:buNone/>
              <a:defRPr/>
            </a:pPr>
            <a:r>
              <a:rPr lang="cs-CZ" sz="1800" dirty="0">
                <a:solidFill>
                  <a:schemeClr val="bg1">
                    <a:lumMod val="50000"/>
                  </a:schemeClr>
                </a:solidFill>
                <a:sym typeface="Wingdings" pitchFamily="2" charset="2"/>
              </a:rPr>
              <a:t> </a:t>
            </a:r>
            <a:r>
              <a:rPr lang="cs-CZ" sz="1800" dirty="0">
                <a:solidFill>
                  <a:schemeClr val="bg1">
                    <a:lumMod val="50000"/>
                  </a:schemeClr>
                </a:solidFill>
              </a:rPr>
              <a:t> 			        </a:t>
            </a:r>
            <a:r>
              <a:rPr lang="cs-CZ" sz="1800" b="1" dirty="0" err="1">
                <a:solidFill>
                  <a:schemeClr val="tx1">
                    <a:lumMod val="65000"/>
                    <a:lumOff val="35000"/>
                  </a:schemeClr>
                </a:solidFill>
                <a:sym typeface="Wingdings" pitchFamily="2" charset="2"/>
              </a:rPr>
              <a:t>Analgézie</a:t>
            </a:r>
            <a:r>
              <a:rPr lang="cs-CZ" sz="1800" b="1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itchFamily="2" charset="2"/>
              </a:rPr>
              <a:t> + </a:t>
            </a:r>
            <a:r>
              <a:rPr lang="cs-CZ" sz="1800" b="1" dirty="0" err="1">
                <a:solidFill>
                  <a:schemeClr val="tx1">
                    <a:lumMod val="65000"/>
                    <a:lumOff val="35000"/>
                  </a:schemeClr>
                </a:solidFill>
                <a:sym typeface="Wingdings" pitchFamily="2" charset="2"/>
              </a:rPr>
              <a:t>Sedace</a:t>
            </a:r>
            <a:r>
              <a:rPr lang="cs-CZ" sz="1800" b="1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itchFamily="2" charset="2"/>
              </a:rPr>
              <a:t> + (Relaxace)</a:t>
            </a:r>
            <a:endParaRPr lang="cs-CZ" sz="1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6626" name="Line 4"/>
          <p:cNvSpPr>
            <a:spLocks noChangeShapeType="1"/>
          </p:cNvSpPr>
          <p:nvPr/>
        </p:nvSpPr>
        <p:spPr bwMode="auto">
          <a:xfrm>
            <a:off x="3708400" y="2636838"/>
            <a:ext cx="0" cy="576262"/>
          </a:xfrm>
          <a:prstGeom prst="line">
            <a:avLst/>
          </a:prstGeom>
          <a:noFill/>
          <a:ln w="57150">
            <a:solidFill>
              <a:srgbClr val="FF0000"/>
            </a:solidFill>
            <a:round/>
            <a:headEnd/>
            <a:tailEnd type="triangle" w="med" len="med"/>
          </a:ln>
        </p:spPr>
        <p:txBody>
          <a:bodyPr wrap="none"/>
          <a:lstStyle/>
          <a:p>
            <a:endParaRPr lang="cs-CZ"/>
          </a:p>
        </p:txBody>
      </p:sp>
      <p:sp>
        <p:nvSpPr>
          <p:cNvPr id="26627" name="Text Box 10"/>
          <p:cNvSpPr txBox="1">
            <a:spLocks noChangeArrowheads="1"/>
          </p:cNvSpPr>
          <p:nvPr/>
        </p:nvSpPr>
        <p:spPr bwMode="auto">
          <a:xfrm>
            <a:off x="4479925" y="5486400"/>
            <a:ext cx="153987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cs-CZ"/>
          </a:p>
        </p:txBody>
      </p:sp>
      <p:sp>
        <p:nvSpPr>
          <p:cNvPr id="26628" name="Text Box 11"/>
          <p:cNvSpPr txBox="1">
            <a:spLocks noChangeArrowheads="1"/>
          </p:cNvSpPr>
          <p:nvPr/>
        </p:nvSpPr>
        <p:spPr bwMode="auto">
          <a:xfrm>
            <a:off x="5580063" y="4365625"/>
            <a:ext cx="1295400" cy="641350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cs-CZ" b="1">
                <a:solidFill>
                  <a:srgbClr val="FF0000"/>
                </a:solidFill>
              </a:rPr>
              <a:t>zabránění</a:t>
            </a:r>
            <a:br>
              <a:rPr lang="cs-CZ" b="1">
                <a:solidFill>
                  <a:srgbClr val="FF0000"/>
                </a:solidFill>
              </a:rPr>
            </a:br>
            <a:r>
              <a:rPr lang="cs-CZ" b="1">
                <a:solidFill>
                  <a:srgbClr val="FF0000"/>
                </a:solidFill>
                <a:sym typeface="Wingdings" pitchFamily="2" charset="2"/>
              </a:rPr>
              <a:t> ICP</a:t>
            </a:r>
            <a:endParaRPr lang="cs-CZ" b="1">
              <a:solidFill>
                <a:srgbClr val="FF0000"/>
              </a:solidFill>
            </a:endParaRPr>
          </a:p>
        </p:txBody>
      </p:sp>
      <p:sp>
        <p:nvSpPr>
          <p:cNvPr id="14" name="Obdélník 13"/>
          <p:cNvSpPr/>
          <p:nvPr/>
        </p:nvSpPr>
        <p:spPr>
          <a:xfrm>
            <a:off x="0" y="0"/>
            <a:ext cx="9144000" cy="69215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2"/>
          <p:cNvSpPr txBox="1">
            <a:spLocks noChangeArrowheads="1"/>
          </p:cNvSpPr>
          <p:nvPr/>
        </p:nvSpPr>
        <p:spPr>
          <a:xfrm>
            <a:off x="0" y="0"/>
            <a:ext cx="9144000" cy="692150"/>
          </a:xfrm>
          <a:prstGeom prst="rect">
            <a:avLst/>
          </a:prstGeom>
        </p:spPr>
        <p:txBody>
          <a:bodyPr anchor="ctr"/>
          <a:lstStyle/>
          <a:p>
            <a:r>
              <a:rPr lang="cs-CZ" b="1">
                <a:solidFill>
                  <a:schemeClr val="bg1"/>
                </a:solidFill>
              </a:rPr>
              <a:t>7) Indikace OTI </a:t>
            </a:r>
            <a:r>
              <a:rPr lang="cs-CZ" b="1">
                <a:solidFill>
                  <a:schemeClr val="bg1"/>
                </a:solidFill>
                <a:sym typeface="Wingdings" pitchFamily="2" charset="2"/>
              </a:rPr>
              <a:t>cíl</a:t>
            </a:r>
            <a:r>
              <a:rPr lang="cs-CZ" b="1">
                <a:solidFill>
                  <a:schemeClr val="bg1"/>
                </a:solidFill>
              </a:rPr>
              <a:t> SpO</a:t>
            </a:r>
            <a:r>
              <a:rPr lang="cs-CZ" b="1" baseline="-25000">
                <a:solidFill>
                  <a:schemeClr val="bg1"/>
                </a:solidFill>
              </a:rPr>
              <a:t>2</a:t>
            </a:r>
            <a:r>
              <a:rPr lang="cs-CZ" b="1">
                <a:solidFill>
                  <a:schemeClr val="bg1"/>
                </a:solidFill>
              </a:rPr>
              <a:t> nad 95% EtCO</a:t>
            </a:r>
            <a:r>
              <a:rPr lang="cs-CZ" b="1" baseline="-25000">
                <a:solidFill>
                  <a:schemeClr val="bg1"/>
                </a:solidFill>
              </a:rPr>
              <a:t>2</a:t>
            </a:r>
            <a:r>
              <a:rPr lang="cs-CZ" b="1">
                <a:solidFill>
                  <a:schemeClr val="bg1"/>
                </a:solidFill>
              </a:rPr>
              <a:t> 30-35mmHg </a:t>
            </a:r>
            <a:endParaRPr lang="de-DE" b="1">
              <a:solidFill>
                <a:schemeClr val="bg1"/>
              </a:solidFill>
            </a:endParaRPr>
          </a:p>
        </p:txBody>
      </p:sp>
      <p:sp>
        <p:nvSpPr>
          <p:cNvPr id="26631" name="Line 4"/>
          <p:cNvSpPr>
            <a:spLocks noChangeShapeType="1"/>
          </p:cNvSpPr>
          <p:nvPr/>
        </p:nvSpPr>
        <p:spPr bwMode="auto">
          <a:xfrm>
            <a:off x="1835150" y="3573463"/>
            <a:ext cx="433388" cy="0"/>
          </a:xfrm>
          <a:prstGeom prst="line">
            <a:avLst/>
          </a:prstGeom>
          <a:noFill/>
          <a:ln w="57150">
            <a:solidFill>
              <a:srgbClr val="FF0000"/>
            </a:solidFill>
            <a:round/>
            <a:headEnd/>
            <a:tailEnd type="triangle" w="med" len="med"/>
          </a:ln>
        </p:spPr>
        <p:txBody>
          <a:bodyPr wrap="none"/>
          <a:lstStyle/>
          <a:p>
            <a:endParaRPr lang="cs-CZ"/>
          </a:p>
        </p:txBody>
      </p:sp>
      <p:sp>
        <p:nvSpPr>
          <p:cNvPr id="18" name="Line 4"/>
          <p:cNvSpPr>
            <a:spLocks noChangeShapeType="1"/>
          </p:cNvSpPr>
          <p:nvPr/>
        </p:nvSpPr>
        <p:spPr bwMode="auto">
          <a:xfrm>
            <a:off x="3492500" y="3573463"/>
            <a:ext cx="431800" cy="0"/>
          </a:xfrm>
          <a:prstGeom prst="line">
            <a:avLst/>
          </a:prstGeom>
          <a:noFill/>
          <a:ln w="57150">
            <a:solidFill>
              <a:schemeClr val="bg1">
                <a:lumMod val="50000"/>
              </a:schemeClr>
            </a:solidFill>
            <a:round/>
            <a:headEnd/>
            <a:tailEnd type="triangle" w="med" len="med"/>
          </a:ln>
          <a:effectLst/>
        </p:spPr>
        <p:txBody>
          <a:bodyPr wrap="none"/>
          <a:lstStyle/>
          <a:p>
            <a:pPr>
              <a:defRPr/>
            </a:pPr>
            <a:endParaRPr lang="cs-CZ"/>
          </a:p>
        </p:txBody>
      </p:sp>
      <p:sp>
        <p:nvSpPr>
          <p:cNvPr id="19" name="Line 4"/>
          <p:cNvSpPr>
            <a:spLocks noChangeShapeType="1"/>
          </p:cNvSpPr>
          <p:nvPr/>
        </p:nvSpPr>
        <p:spPr bwMode="auto">
          <a:xfrm>
            <a:off x="4787900" y="3573463"/>
            <a:ext cx="431800" cy="0"/>
          </a:xfrm>
          <a:prstGeom prst="line">
            <a:avLst/>
          </a:prstGeom>
          <a:noFill/>
          <a:ln w="57150">
            <a:solidFill>
              <a:schemeClr val="bg1">
                <a:lumMod val="50000"/>
              </a:schemeClr>
            </a:solidFill>
            <a:round/>
            <a:headEnd/>
            <a:tailEnd type="triangle" w="med" len="med"/>
          </a:ln>
          <a:effectLst/>
        </p:spPr>
        <p:txBody>
          <a:bodyPr wrap="none"/>
          <a:lstStyle/>
          <a:p>
            <a:pPr>
              <a:defRPr/>
            </a:pPr>
            <a:endParaRPr lang="cs-CZ"/>
          </a:p>
        </p:txBody>
      </p:sp>
      <p:sp>
        <p:nvSpPr>
          <p:cNvPr id="20" name="Line 4"/>
          <p:cNvSpPr>
            <a:spLocks noChangeShapeType="1"/>
          </p:cNvSpPr>
          <p:nvPr/>
        </p:nvSpPr>
        <p:spPr bwMode="auto">
          <a:xfrm>
            <a:off x="6227763" y="3573463"/>
            <a:ext cx="431800" cy="0"/>
          </a:xfrm>
          <a:prstGeom prst="line">
            <a:avLst/>
          </a:prstGeom>
          <a:noFill/>
          <a:ln w="57150">
            <a:solidFill>
              <a:schemeClr val="bg1">
                <a:lumMod val="50000"/>
              </a:schemeClr>
            </a:solidFill>
            <a:round/>
            <a:headEnd/>
            <a:tailEnd type="triangle" w="med" len="med"/>
          </a:ln>
          <a:effectLst/>
        </p:spPr>
        <p:txBody>
          <a:bodyPr wrap="none"/>
          <a:lstStyle/>
          <a:p>
            <a:pPr>
              <a:defRPr/>
            </a:pPr>
            <a:endParaRPr lang="cs-CZ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0" y="0"/>
            <a:ext cx="9144000" cy="69215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0" y="0"/>
            <a:ext cx="9144000" cy="692150"/>
          </a:xfrm>
          <a:prstGeom prst="rect">
            <a:avLst/>
          </a:prstGeom>
        </p:spPr>
        <p:txBody>
          <a:bodyPr anchor="ctr"/>
          <a:lstStyle/>
          <a:p>
            <a:r>
              <a:rPr lang="cs-CZ" b="1">
                <a:solidFill>
                  <a:schemeClr val="bg1"/>
                </a:solidFill>
              </a:rPr>
              <a:t>8) STABILIZACE OBĚHU</a:t>
            </a:r>
            <a:endParaRPr lang="de-DE" b="1">
              <a:solidFill>
                <a:schemeClr val="bg1"/>
              </a:solidFill>
            </a:endParaRPr>
          </a:p>
        </p:txBody>
      </p:sp>
      <p:sp>
        <p:nvSpPr>
          <p:cNvPr id="44" name="Text Box 10"/>
          <p:cNvSpPr txBox="1">
            <a:spLocks noChangeArrowheads="1"/>
          </p:cNvSpPr>
          <p:nvPr/>
        </p:nvSpPr>
        <p:spPr bwMode="auto">
          <a:xfrm>
            <a:off x="684213" y="1196975"/>
            <a:ext cx="7775575" cy="489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eaLnBrk="0" hangingPunct="0">
              <a:lnSpc>
                <a:spcPct val="200000"/>
              </a:lnSpc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ílem dosáhnout </a:t>
            </a: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P 90mmHg v co nejkratší době</a:t>
            </a:r>
          </a:p>
          <a:p>
            <a:pPr marL="457200" indent="-457200" eaLnBrk="0" hangingPunct="0">
              <a:lnSpc>
                <a:spcPct val="200000"/>
              </a:lnSpc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ypotenze se systolickým tlakem pod 90mmHg zdvojnásobuje výslednou </a:t>
            </a:r>
            <a:r>
              <a:rPr lang="cs-CZ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oratlitu</a:t>
            </a:r>
            <a:endParaRPr lang="cs-CZ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457200" indent="-457200" eaLnBrk="0" hangingPunct="0">
              <a:lnSpc>
                <a:spcPct val="200000"/>
              </a:lnSpc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kud úvodní infuze plných krystaloidů a koloidních roztoků nevede v řádu minut k normalizaci TK ► přistoupit k podpoře sympatomimetiky</a:t>
            </a:r>
          </a:p>
          <a:p>
            <a:pPr marL="457200" indent="-457200" eaLnBrk="0" hangingPunct="0">
              <a:lnSpc>
                <a:spcPct val="200000"/>
              </a:lnSpc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ékem volby ► noradrenalin v kontinuálním podání doplněný případně o dopamin či </a:t>
            </a:r>
            <a:r>
              <a:rPr lang="cs-CZ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obutamin</a:t>
            </a:r>
            <a:endParaRPr lang="cs-CZ" sz="16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33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990600"/>
            <a:ext cx="8305800" cy="5334000"/>
          </a:xfrm>
        </p:spPr>
        <p:txBody>
          <a:bodyPr/>
          <a:lstStyle/>
          <a:p>
            <a:pPr>
              <a:buFontTx/>
              <a:buNone/>
              <a:defRPr/>
            </a:pPr>
            <a:r>
              <a:rPr lang="cs-CZ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Klíčové pro zhodnocení závažnosti KCP</a:t>
            </a:r>
          </a:p>
          <a:p>
            <a:pPr>
              <a:buFontTx/>
              <a:buNone/>
              <a:defRPr/>
            </a:pPr>
            <a:r>
              <a:rPr lang="cs-CZ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Sledování </a:t>
            </a:r>
            <a:r>
              <a:rPr lang="cs-CZ" sz="18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dynamiky</a:t>
            </a:r>
            <a:r>
              <a:rPr lang="cs-CZ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 a včasná dg nitrolební hypertenze</a:t>
            </a:r>
          </a:p>
          <a:p>
            <a:pPr>
              <a:buFontTx/>
              <a:buNone/>
              <a:defRPr/>
            </a:pPr>
            <a:endParaRPr lang="cs-CZ" sz="2400" dirty="0">
              <a:solidFill>
                <a:srgbClr val="FFCC00"/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  <a:p>
            <a:pPr>
              <a:buFontTx/>
              <a:buNone/>
              <a:defRPr/>
            </a:pPr>
            <a:r>
              <a:rPr lang="cs-CZ" sz="16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- GCS </a:t>
            </a:r>
            <a:r>
              <a:rPr lang="cs-CZ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každou modalitu zvlášť</a:t>
            </a:r>
          </a:p>
          <a:p>
            <a:pPr>
              <a:buFontTx/>
              <a:buNone/>
              <a:defRPr/>
            </a:pPr>
            <a:r>
              <a:rPr lang="cs-CZ" sz="16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- velikost </a:t>
            </a:r>
            <a:r>
              <a:rPr lang="cs-CZ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postavení a fotoreakce zornic </a:t>
            </a:r>
            <a:r>
              <a:rPr lang="cs-CZ" sz="16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(nic víc)</a:t>
            </a:r>
            <a:endParaRPr lang="cs-CZ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  <a:p>
            <a:pPr>
              <a:buFontTx/>
              <a:buNone/>
              <a:defRPr/>
            </a:pPr>
            <a:r>
              <a:rPr lang="cs-CZ" sz="16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- motorika </a:t>
            </a:r>
            <a:r>
              <a:rPr lang="cs-CZ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všech končetin</a:t>
            </a:r>
          </a:p>
          <a:p>
            <a:pPr>
              <a:buFontTx/>
              <a:buNone/>
              <a:defRPr/>
            </a:pPr>
            <a:endParaRPr lang="cs-CZ" sz="2400" dirty="0">
              <a:latin typeface="Arial" pitchFamily="34" charset="0"/>
              <a:cs typeface="Arial" pitchFamily="34" charset="0"/>
              <a:sym typeface="Wingdings" pitchFamily="2" charset="2"/>
            </a:endParaRPr>
          </a:p>
          <a:p>
            <a:pPr algn="ctr">
              <a:buFontTx/>
              <a:buNone/>
              <a:defRPr/>
            </a:pPr>
            <a:r>
              <a:rPr lang="cs-CZ" sz="18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Dynamicky znamená opakovaně !</a:t>
            </a:r>
            <a:r>
              <a:rPr lang="cs-CZ" sz="2400" dirty="0">
                <a:latin typeface="Arial" pitchFamily="34" charset="0"/>
                <a:cs typeface="Arial" pitchFamily="34" charset="0"/>
                <a:sym typeface="Wingdings" pitchFamily="2" charset="2"/>
              </a:rPr>
              <a:t/>
            </a:r>
            <a:br>
              <a:rPr lang="cs-CZ" sz="2400" dirty="0">
                <a:latin typeface="Arial" pitchFamily="34" charset="0"/>
                <a:cs typeface="Arial" pitchFamily="34" charset="0"/>
                <a:sym typeface="Wingdings" pitchFamily="2" charset="2"/>
              </a:rPr>
            </a:br>
            <a:endParaRPr lang="cs-CZ" sz="18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  <a:p>
            <a:pPr>
              <a:buFontTx/>
              <a:buNone/>
              <a:defRPr/>
            </a:pPr>
            <a:r>
              <a:rPr lang="cs-CZ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GCS 13 – 15    </a:t>
            </a:r>
            <a:r>
              <a:rPr lang="cs-CZ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     KCP </a:t>
            </a:r>
            <a:r>
              <a:rPr lang="cs-CZ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lehké     </a:t>
            </a:r>
            <a:r>
              <a:rPr lang="cs-CZ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     RTG </a:t>
            </a:r>
            <a:r>
              <a:rPr lang="cs-CZ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(CT)   </a:t>
            </a:r>
            <a:r>
              <a:rPr lang="cs-CZ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     standard </a:t>
            </a:r>
            <a:r>
              <a:rPr lang="cs-CZ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observace</a:t>
            </a:r>
          </a:p>
          <a:p>
            <a:pPr>
              <a:buFontTx/>
              <a:buNone/>
              <a:defRPr/>
            </a:pPr>
            <a:r>
              <a:rPr lang="cs-CZ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GCS   9 –12     </a:t>
            </a:r>
            <a:r>
              <a:rPr lang="cs-CZ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     KCP </a:t>
            </a:r>
            <a:r>
              <a:rPr lang="cs-CZ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střední   </a:t>
            </a:r>
            <a:r>
              <a:rPr lang="cs-CZ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     CT</a:t>
            </a:r>
            <a:r>
              <a:rPr lang="cs-CZ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	</a:t>
            </a:r>
            <a:r>
              <a:rPr lang="cs-CZ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         intenzivní </a:t>
            </a:r>
            <a:r>
              <a:rPr lang="cs-CZ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péče</a:t>
            </a:r>
          </a:p>
          <a:p>
            <a:pPr>
              <a:buFontTx/>
              <a:buNone/>
              <a:defRPr/>
            </a:pPr>
            <a:r>
              <a:rPr lang="cs-CZ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GCS   3 – 8      </a:t>
            </a:r>
            <a:r>
              <a:rPr lang="cs-CZ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     KCP </a:t>
            </a:r>
            <a:r>
              <a:rPr lang="cs-CZ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těžké     </a:t>
            </a:r>
            <a:r>
              <a:rPr lang="cs-CZ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     CT                   komplexní resuscitace </a:t>
            </a:r>
            <a:endParaRPr lang="cs-CZ" sz="18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  <a:p>
            <a:pPr>
              <a:buFontTx/>
              <a:buNone/>
              <a:defRPr/>
            </a:pPr>
            <a:endParaRPr lang="cs-CZ" sz="2400" dirty="0">
              <a:sym typeface="Wingdings" pitchFamily="2" charset="2"/>
            </a:endParaRPr>
          </a:p>
        </p:txBody>
      </p:sp>
      <p:sp>
        <p:nvSpPr>
          <p:cNvPr id="5" name="Obdélník 4"/>
          <p:cNvSpPr/>
          <p:nvPr/>
        </p:nvSpPr>
        <p:spPr>
          <a:xfrm>
            <a:off x="0" y="0"/>
            <a:ext cx="9144000" cy="69215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0" y="0"/>
            <a:ext cx="9144000" cy="692150"/>
          </a:xfrm>
          <a:prstGeom prst="rect">
            <a:avLst/>
          </a:prstGeom>
        </p:spPr>
        <p:txBody>
          <a:bodyPr anchor="ctr"/>
          <a:lstStyle/>
          <a:p>
            <a:r>
              <a:rPr lang="cs-CZ" b="1">
                <a:solidFill>
                  <a:schemeClr val="bg1"/>
                </a:solidFill>
              </a:rPr>
              <a:t>9) ORINTAČNÍ NEUROLOGICKÉ VYŠETŘENÍ</a:t>
            </a:r>
            <a:endParaRPr lang="de-DE" b="1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4420" name="Text Box 4"/>
          <p:cNvSpPr txBox="1">
            <a:spLocks noChangeArrowheads="1"/>
          </p:cNvSpPr>
          <p:nvPr/>
        </p:nvSpPr>
        <p:spPr bwMode="auto">
          <a:xfrm>
            <a:off x="611188" y="836613"/>
            <a:ext cx="8077200" cy="5500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P	L	stav zornic		     klinický význam</a:t>
            </a:r>
          </a:p>
          <a:p>
            <a:pPr>
              <a:spcBef>
                <a:spcPct val="50000"/>
              </a:spcBef>
              <a:defRPr/>
            </a:pPr>
            <a:r>
              <a:rPr lang="cs-CZ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+           +</a:t>
            </a:r>
            <a:r>
              <a:rPr lang="cs-CZ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	pupily úzké, 	   	      normální nález	</a:t>
            </a:r>
          </a:p>
          <a:p>
            <a:pPr>
              <a:spcBef>
                <a:spcPct val="50000"/>
              </a:spcBef>
              <a:defRPr/>
            </a:pPr>
            <a:r>
              <a:rPr lang="cs-CZ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		reagují na osvit </a:t>
            </a:r>
          </a:p>
          <a:p>
            <a:pPr>
              <a:spcBef>
                <a:spcPct val="50000"/>
              </a:spcBef>
              <a:defRPr/>
            </a:pPr>
            <a:endParaRPr lang="cs-CZ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50000"/>
              </a:spcBef>
              <a:defRPr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(+)	+</a:t>
            </a:r>
            <a:r>
              <a:rPr lang="cs-CZ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	P rozšířená reakce obleněná        pravostranná léze, útlak</a:t>
            </a:r>
          </a:p>
          <a:p>
            <a:pPr>
              <a:spcBef>
                <a:spcPct val="50000"/>
              </a:spcBef>
              <a:defRPr/>
            </a:pPr>
            <a:r>
              <a:rPr lang="cs-CZ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		L úzká reaguje</a:t>
            </a:r>
          </a:p>
          <a:p>
            <a:pPr>
              <a:spcBef>
                <a:spcPct val="50000"/>
              </a:spcBef>
              <a:defRPr/>
            </a:pPr>
            <a:endParaRPr lang="cs-CZ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50000"/>
              </a:spcBef>
              <a:defRPr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  -	+</a:t>
            </a:r>
            <a:r>
              <a:rPr lang="cs-CZ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	P široká, nereaguje	                      progrese stavu</a:t>
            </a:r>
          </a:p>
          <a:p>
            <a:pPr>
              <a:spcBef>
                <a:spcPct val="50000"/>
              </a:spcBef>
              <a:defRPr/>
            </a:pPr>
            <a:r>
              <a:rPr lang="cs-CZ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		L úzká reaguje</a:t>
            </a:r>
          </a:p>
          <a:p>
            <a:pPr>
              <a:spcBef>
                <a:spcPct val="50000"/>
              </a:spcBef>
              <a:defRPr/>
            </a:pPr>
            <a:endParaRPr lang="cs-CZ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50000"/>
              </a:spcBef>
              <a:defRPr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  -	-</a:t>
            </a:r>
            <a:r>
              <a:rPr lang="cs-CZ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	P a L středně široké	                      léze středního mozku</a:t>
            </a:r>
          </a:p>
          <a:p>
            <a:pPr>
              <a:spcBef>
                <a:spcPct val="50000"/>
              </a:spcBef>
              <a:defRPr/>
            </a:pPr>
            <a:r>
              <a:rPr lang="cs-CZ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		P a L nereagující		      </a:t>
            </a:r>
            <a:r>
              <a:rPr lang="cs-CZ" sz="1600" dirty="0" err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entoriální</a:t>
            </a:r>
            <a:r>
              <a:rPr lang="cs-CZ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600" dirty="0" err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herniace</a:t>
            </a:r>
            <a:endParaRPr lang="cs-CZ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50000"/>
              </a:spcBef>
              <a:defRPr/>
            </a:pPr>
            <a:endParaRPr lang="cs-CZ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50000"/>
              </a:spcBef>
              <a:defRPr/>
            </a:pPr>
            <a:r>
              <a:rPr lang="cs-CZ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-	-</a:t>
            </a:r>
            <a:r>
              <a:rPr lang="cs-CZ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	P a L široké		      medulární léze	</a:t>
            </a:r>
          </a:p>
          <a:p>
            <a:pPr>
              <a:spcBef>
                <a:spcPct val="50000"/>
              </a:spcBef>
              <a:defRPr/>
            </a:pPr>
            <a:r>
              <a:rPr lang="cs-CZ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		nereagující		      terminální stav</a:t>
            </a:r>
            <a:r>
              <a:rPr lang="cs-CZ" sz="1600" b="1" dirty="0">
                <a:latin typeface="Tahoma" pitchFamily="34" charset="0"/>
              </a:rPr>
              <a:t>	</a:t>
            </a:r>
          </a:p>
        </p:txBody>
      </p:sp>
      <p:sp>
        <p:nvSpPr>
          <p:cNvPr id="444421" name="Oval 5"/>
          <p:cNvSpPr>
            <a:spLocks noChangeArrowheads="1"/>
          </p:cNvSpPr>
          <p:nvPr/>
        </p:nvSpPr>
        <p:spPr bwMode="auto">
          <a:xfrm>
            <a:off x="611188" y="5949950"/>
            <a:ext cx="381000" cy="3810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444422" name="Oval 6"/>
          <p:cNvSpPr>
            <a:spLocks noChangeArrowheads="1"/>
          </p:cNvSpPr>
          <p:nvPr/>
        </p:nvSpPr>
        <p:spPr bwMode="auto">
          <a:xfrm>
            <a:off x="1476375" y="1628775"/>
            <a:ext cx="152400" cy="1524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444423" name="Oval 7"/>
          <p:cNvSpPr>
            <a:spLocks noChangeArrowheads="1"/>
          </p:cNvSpPr>
          <p:nvPr/>
        </p:nvSpPr>
        <p:spPr bwMode="auto">
          <a:xfrm>
            <a:off x="684213" y="4868863"/>
            <a:ext cx="304800" cy="3048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444424" name="Oval 8"/>
          <p:cNvSpPr>
            <a:spLocks noChangeArrowheads="1"/>
          </p:cNvSpPr>
          <p:nvPr/>
        </p:nvSpPr>
        <p:spPr bwMode="auto">
          <a:xfrm>
            <a:off x="684213" y="1628775"/>
            <a:ext cx="152400" cy="1524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444425" name="Oval 9"/>
          <p:cNvSpPr>
            <a:spLocks noChangeArrowheads="1"/>
          </p:cNvSpPr>
          <p:nvPr/>
        </p:nvSpPr>
        <p:spPr bwMode="auto">
          <a:xfrm>
            <a:off x="1547813" y="2708275"/>
            <a:ext cx="152400" cy="1524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444426" name="Oval 10"/>
          <p:cNvSpPr>
            <a:spLocks noChangeArrowheads="1"/>
          </p:cNvSpPr>
          <p:nvPr/>
        </p:nvSpPr>
        <p:spPr bwMode="auto">
          <a:xfrm>
            <a:off x="1476375" y="5949950"/>
            <a:ext cx="381000" cy="3810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444427" name="Oval 11"/>
          <p:cNvSpPr>
            <a:spLocks noChangeArrowheads="1"/>
          </p:cNvSpPr>
          <p:nvPr/>
        </p:nvSpPr>
        <p:spPr bwMode="auto">
          <a:xfrm>
            <a:off x="1476375" y="4868863"/>
            <a:ext cx="304800" cy="3048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444428" name="Oval 12"/>
          <p:cNvSpPr>
            <a:spLocks noChangeArrowheads="1"/>
          </p:cNvSpPr>
          <p:nvPr/>
        </p:nvSpPr>
        <p:spPr bwMode="auto">
          <a:xfrm>
            <a:off x="684213" y="2708275"/>
            <a:ext cx="228600" cy="2286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444430" name="Oval 14"/>
          <p:cNvSpPr>
            <a:spLocks noChangeArrowheads="1"/>
          </p:cNvSpPr>
          <p:nvPr/>
        </p:nvSpPr>
        <p:spPr bwMode="auto">
          <a:xfrm>
            <a:off x="684213" y="3716338"/>
            <a:ext cx="304800" cy="3048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444431" name="Oval 15"/>
          <p:cNvSpPr>
            <a:spLocks noChangeArrowheads="1"/>
          </p:cNvSpPr>
          <p:nvPr/>
        </p:nvSpPr>
        <p:spPr bwMode="auto">
          <a:xfrm>
            <a:off x="1619250" y="3789363"/>
            <a:ext cx="152400" cy="1524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13" name="Obdélník 12"/>
          <p:cNvSpPr/>
          <p:nvPr/>
        </p:nvSpPr>
        <p:spPr>
          <a:xfrm>
            <a:off x="0" y="0"/>
            <a:ext cx="9144000" cy="69215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2"/>
          <p:cNvSpPr txBox="1">
            <a:spLocks noChangeArrowheads="1"/>
          </p:cNvSpPr>
          <p:nvPr/>
        </p:nvSpPr>
        <p:spPr>
          <a:xfrm>
            <a:off x="0" y="0"/>
            <a:ext cx="9144000" cy="692150"/>
          </a:xfrm>
          <a:prstGeom prst="rect">
            <a:avLst/>
          </a:prstGeom>
        </p:spPr>
        <p:txBody>
          <a:bodyPr anchor="ctr"/>
          <a:lstStyle/>
          <a:p>
            <a:r>
              <a:rPr lang="cs-CZ" b="1">
                <a:solidFill>
                  <a:schemeClr val="bg1"/>
                </a:solidFill>
              </a:rPr>
              <a:t>10) ORIENTAČNÍ NEUROLOGICKÉ VYŠETŘENÍ</a:t>
            </a:r>
            <a:endParaRPr lang="de-DE" b="1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95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066800"/>
            <a:ext cx="8229600" cy="5181600"/>
          </a:xfrm>
        </p:spPr>
        <p:txBody>
          <a:bodyPr/>
          <a:lstStyle/>
          <a:p>
            <a:pPr>
              <a:lnSpc>
                <a:spcPct val="90000"/>
              </a:lnSpc>
              <a:buFontTx/>
              <a:buNone/>
              <a:defRPr/>
            </a:pPr>
            <a:r>
              <a:rPr lang="cs-CZ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- elevace </a:t>
            </a: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hlavy o 15 – 30 stupňů</a:t>
            </a:r>
          </a:p>
          <a:p>
            <a:pPr>
              <a:lnSpc>
                <a:spcPct val="90000"/>
              </a:lnSpc>
              <a:buFontTx/>
              <a:buNone/>
              <a:defRPr/>
            </a:pPr>
            <a:endParaRPr lang="cs-CZ" sz="16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buFontTx/>
              <a:buNone/>
              <a:defRPr/>
            </a:pPr>
            <a:endParaRPr lang="cs-CZ" sz="16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buFontTx/>
              <a:buNone/>
              <a:defRPr/>
            </a:pPr>
            <a:r>
              <a:rPr lang="cs-CZ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- kontrola </a:t>
            </a: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případného venózního </a:t>
            </a:r>
            <a:r>
              <a:rPr lang="cs-CZ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městnání!</a:t>
            </a:r>
            <a:endParaRPr lang="cs-CZ" sz="16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buFontTx/>
              <a:buNone/>
              <a:defRPr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				</a:t>
            </a: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CPP = MAP – ICP + VP</a:t>
            </a:r>
          </a:p>
          <a:p>
            <a:pPr>
              <a:lnSpc>
                <a:spcPct val="90000"/>
              </a:lnSpc>
              <a:buFontTx/>
              <a:buNone/>
              <a:defRPr/>
            </a:pPr>
            <a:endParaRPr lang="cs-CZ" sz="16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buFontTx/>
              <a:buNone/>
              <a:defRPr/>
            </a:pPr>
            <a:endParaRPr lang="cs-CZ" sz="16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buFontTx/>
              <a:buNone/>
              <a:defRPr/>
            </a:pPr>
            <a:endParaRPr lang="cs-CZ" sz="16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buFontTx/>
              <a:buNone/>
              <a:defRPr/>
            </a:pPr>
            <a:r>
              <a:rPr lang="cs-CZ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- měření </a:t>
            </a:r>
            <a:r>
              <a:rPr lang="cs-CZ" sz="16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EtCO</a:t>
            </a:r>
            <a:r>
              <a:rPr lang="cs-CZ" sz="1600" b="1" baseline="-250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2</a:t>
            </a: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 u každého KCP na UPV </a:t>
            </a:r>
            <a:r>
              <a:rPr lang="cs-CZ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!</a:t>
            </a:r>
            <a:endParaRPr lang="cs-CZ" sz="16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buFontTx/>
              <a:buNone/>
              <a:defRPr/>
            </a:pPr>
            <a:endParaRPr lang="cs-CZ" sz="16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buFontTx/>
              <a:buNone/>
              <a:defRPr/>
            </a:pPr>
            <a:endParaRPr lang="cs-CZ" sz="16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buFontTx/>
              <a:buNone/>
              <a:defRPr/>
            </a:pPr>
            <a:r>
              <a:rPr lang="cs-CZ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- monitoring </a:t>
            </a: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dynamiky </a:t>
            </a:r>
            <a:r>
              <a:rPr lang="cs-CZ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neurol</a:t>
            </a: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cs-CZ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symptomů ! </a:t>
            </a:r>
            <a:endParaRPr lang="cs-CZ" sz="16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ct val="90000"/>
              </a:lnSpc>
              <a:buFontTx/>
              <a:buNone/>
              <a:defRPr/>
            </a:pPr>
            <a:endParaRPr lang="cs-CZ" sz="16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ct val="90000"/>
              </a:lnSpc>
              <a:buFontTx/>
              <a:buNone/>
              <a:defRPr/>
            </a:pPr>
            <a:endParaRPr lang="cs-CZ" sz="16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buFontTx/>
              <a:buNone/>
              <a:defRPr/>
            </a:pPr>
            <a:r>
              <a:rPr lang="cs-CZ" sz="16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- avizovaný </a:t>
            </a:r>
            <a:r>
              <a:rPr lang="cs-CZ" sz="16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transport do místa definitivního ošetření  24hod neurochirurgická péče</a:t>
            </a:r>
          </a:p>
          <a:p>
            <a:pPr>
              <a:lnSpc>
                <a:spcPct val="90000"/>
              </a:lnSpc>
              <a:buFontTx/>
              <a:buNone/>
              <a:defRPr/>
            </a:pPr>
            <a:r>
              <a:rPr lang="cs-CZ" sz="16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- zlatá </a:t>
            </a:r>
            <a:r>
              <a:rPr lang="cs-CZ" sz="16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hodina</a:t>
            </a:r>
          </a:p>
          <a:p>
            <a:pPr>
              <a:lnSpc>
                <a:spcPct val="90000"/>
              </a:lnSpc>
              <a:buFontTx/>
              <a:buNone/>
              <a:defRPr/>
            </a:pPr>
            <a:endParaRPr lang="cs-CZ" sz="2800" dirty="0">
              <a:solidFill>
                <a:srgbClr val="FFCC00"/>
              </a:solidFill>
            </a:endParaRPr>
          </a:p>
        </p:txBody>
      </p:sp>
      <p:sp>
        <p:nvSpPr>
          <p:cNvPr id="4" name="Obdélník 3"/>
          <p:cNvSpPr/>
          <p:nvPr/>
        </p:nvSpPr>
        <p:spPr>
          <a:xfrm>
            <a:off x="0" y="0"/>
            <a:ext cx="9144000" cy="69215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0" y="0"/>
            <a:ext cx="9144000" cy="692150"/>
          </a:xfrm>
          <a:prstGeom prst="rect">
            <a:avLst/>
          </a:prstGeom>
        </p:spPr>
        <p:txBody>
          <a:bodyPr anchor="ctr"/>
          <a:lstStyle/>
          <a:p>
            <a:r>
              <a:rPr lang="cs-CZ" b="1">
                <a:solidFill>
                  <a:schemeClr val="bg1"/>
                </a:solidFill>
              </a:rPr>
              <a:t>11) ADEKVÁTNÍ TRANSPORT</a:t>
            </a:r>
            <a:endParaRPr lang="de-DE" b="1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0" y="0"/>
            <a:ext cx="9144000" cy="69215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0" y="0"/>
            <a:ext cx="9144000" cy="692150"/>
          </a:xfrm>
          <a:prstGeom prst="rect">
            <a:avLst/>
          </a:prstGeom>
        </p:spPr>
        <p:txBody>
          <a:bodyPr anchor="ctr"/>
          <a:lstStyle/>
          <a:p>
            <a:r>
              <a:rPr lang="cs-CZ" b="1">
                <a:solidFill>
                  <a:schemeClr val="bg1"/>
                </a:solidFill>
              </a:rPr>
              <a:t>12) Algoritmus péče o těžké trauma GCS méně jak 8</a:t>
            </a:r>
            <a:endParaRPr lang="de-DE" b="1">
              <a:solidFill>
                <a:schemeClr val="bg1"/>
              </a:solidFill>
            </a:endParaRPr>
          </a:p>
        </p:txBody>
      </p:sp>
      <p:sp>
        <p:nvSpPr>
          <p:cNvPr id="44" name="Text Box 10"/>
          <p:cNvSpPr txBox="1">
            <a:spLocks noChangeArrowheads="1"/>
          </p:cNvSpPr>
          <p:nvPr/>
        </p:nvSpPr>
        <p:spPr bwMode="auto">
          <a:xfrm>
            <a:off x="179388" y="1628775"/>
            <a:ext cx="7777162" cy="446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eaLnBrk="0" hangingPunct="0">
              <a:lnSpc>
                <a:spcPct val="150000"/>
              </a:lnSpc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kompletní spinální </a:t>
            </a:r>
            <a:r>
              <a:rPr lang="cs-CZ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protektivní</a:t>
            </a: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 zajištění</a:t>
            </a:r>
          </a:p>
          <a:p>
            <a:pPr marL="457200" indent="-457200" eaLnBrk="0" hangingPunct="0">
              <a:lnSpc>
                <a:spcPct val="150000"/>
              </a:lnSpc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vyloučení zevních výrazných krvácení</a:t>
            </a:r>
          </a:p>
          <a:p>
            <a:pPr marL="457200" indent="-457200" eaLnBrk="0" hangingPunct="0">
              <a:lnSpc>
                <a:spcPct val="150000"/>
              </a:lnSpc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vyloučení tenzního PNO</a:t>
            </a:r>
          </a:p>
          <a:p>
            <a:pPr marL="457200" indent="-457200" eaLnBrk="0" hangingPunct="0">
              <a:lnSpc>
                <a:spcPct val="150000"/>
              </a:lnSpc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komplexní resuscitační péče</a:t>
            </a:r>
          </a:p>
          <a:p>
            <a:pPr marL="457200" indent="-457200" eaLnBrk="0" hangingPunct="0">
              <a:lnSpc>
                <a:spcPct val="150000"/>
              </a:lnSpc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komplexní monitoring</a:t>
            </a:r>
          </a:p>
          <a:p>
            <a:pPr marL="457200" indent="-457200" eaLnBrk="0" hangingPunct="0">
              <a:lnSpc>
                <a:spcPct val="150000"/>
              </a:lnSpc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pravidelná kontrola dynamiky neurologických symptomů s cílem podchycení nárůstu ICP - přechodu do fáze dekompenzace a jeho včasná léčba</a:t>
            </a:r>
          </a:p>
          <a:p>
            <a:pPr marL="457200" indent="-457200" eaLnBrk="0" hangingPunct="0">
              <a:lnSpc>
                <a:spcPct val="150000"/>
              </a:lnSpc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avizo</a:t>
            </a: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 a transport na odpovídající pracoviště s 24 hodinovou neurochirurgickou péčí včetně JIP</a:t>
            </a:r>
            <a:endParaRPr lang="cs-CZ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457200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endParaRPr lang="cs-CZ" sz="1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2" name="Text Box 10"/>
          <p:cNvSpPr txBox="1">
            <a:spLocks noChangeArrowheads="1"/>
          </p:cNvSpPr>
          <p:nvPr/>
        </p:nvSpPr>
        <p:spPr bwMode="auto">
          <a:xfrm>
            <a:off x="684213" y="1052513"/>
            <a:ext cx="77755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tabLst>
                <a:tab pos="271463" algn="l"/>
              </a:tabLst>
              <a:defRPr/>
            </a:pP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ředpoklad přidružených poranění</a:t>
            </a:r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0" y="0"/>
            <a:ext cx="9144000" cy="69215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0" y="0"/>
            <a:ext cx="9144000" cy="692150"/>
          </a:xfrm>
          <a:prstGeom prst="rect">
            <a:avLst/>
          </a:prstGeom>
        </p:spPr>
        <p:txBody>
          <a:bodyPr anchor="ctr"/>
          <a:lstStyle/>
          <a:p>
            <a:r>
              <a:rPr lang="cs-CZ" b="1">
                <a:solidFill>
                  <a:schemeClr val="bg1"/>
                </a:solidFill>
              </a:rPr>
              <a:t>2) FAKTORY OVLIVŇUJÍCÍ VZNIK A NÁSLEDNÝ VÝVOJ KCP</a:t>
            </a:r>
            <a:endParaRPr lang="de-DE" b="1">
              <a:solidFill>
                <a:schemeClr val="bg1"/>
              </a:solidFill>
            </a:endParaRPr>
          </a:p>
        </p:txBody>
      </p:sp>
      <p:sp>
        <p:nvSpPr>
          <p:cNvPr id="44" name="Text Box 10"/>
          <p:cNvSpPr txBox="1">
            <a:spLocks noChangeArrowheads="1"/>
          </p:cNvSpPr>
          <p:nvPr/>
        </p:nvSpPr>
        <p:spPr bwMode="auto">
          <a:xfrm>
            <a:off x="684213" y="2492375"/>
            <a:ext cx="7775575" cy="1223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ižší sociální statut </a:t>
            </a:r>
            <a:r>
              <a:rPr lang="cs-CZ" sz="1600" dirty="0">
                <a:solidFill>
                  <a:schemeClr val="bg1">
                    <a:lumMod val="50000"/>
                  </a:schemeClr>
                </a:solidFill>
              </a:rPr>
              <a:t>- alkohol</a:t>
            </a:r>
          </a:p>
          <a:p>
            <a:pPr marL="2286000" lvl="4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tabLst>
                <a:tab pos="271463" algn="l"/>
              </a:tabLst>
              <a:defRPr/>
            </a:pPr>
            <a:r>
              <a:rPr lang="cs-CZ" sz="1600" b="1" dirty="0">
                <a:solidFill>
                  <a:schemeClr val="bg1">
                    <a:lumMod val="50000"/>
                  </a:schemeClr>
                </a:solidFill>
              </a:rPr>
              <a:t>	  </a:t>
            </a:r>
            <a:r>
              <a:rPr lang="cs-CZ" sz="1600" dirty="0">
                <a:solidFill>
                  <a:schemeClr val="bg1">
                    <a:lumMod val="50000"/>
                  </a:schemeClr>
                </a:solidFill>
              </a:rPr>
              <a:t>- přidružené onemocnění</a:t>
            </a:r>
          </a:p>
        </p:txBody>
      </p:sp>
      <p:sp>
        <p:nvSpPr>
          <p:cNvPr id="12" name="Text Box 10"/>
          <p:cNvSpPr txBox="1">
            <a:spLocks noChangeArrowheads="1"/>
          </p:cNvSpPr>
          <p:nvPr/>
        </p:nvSpPr>
        <p:spPr bwMode="auto">
          <a:xfrm>
            <a:off x="684213" y="3716338"/>
            <a:ext cx="7775575" cy="1081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ávykové látky </a:t>
            </a:r>
            <a:r>
              <a:rPr lang="cs-CZ" sz="1600" dirty="0">
                <a:solidFill>
                  <a:schemeClr val="bg1">
                    <a:lumMod val="50000"/>
                  </a:schemeClr>
                </a:solidFill>
              </a:rPr>
              <a:t>- 56% KCP u dospělých pozitivní abusus alkoholu</a:t>
            </a:r>
          </a:p>
          <a:p>
            <a:pPr marL="457200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tabLst>
                <a:tab pos="271463" algn="l"/>
              </a:tabLst>
              <a:defRPr/>
            </a:pPr>
            <a:r>
              <a:rPr lang="cs-CZ" sz="1600" dirty="0">
                <a:solidFill>
                  <a:schemeClr val="bg1">
                    <a:lumMod val="50000"/>
                  </a:schemeClr>
                </a:solidFill>
              </a:rPr>
              <a:t>				  - stále narůstající počet pod vlivem jiných látek</a:t>
            </a:r>
          </a:p>
        </p:txBody>
      </p:sp>
      <p:sp>
        <p:nvSpPr>
          <p:cNvPr id="13" name="Text Box 10"/>
          <p:cNvSpPr txBox="1">
            <a:spLocks noChangeArrowheads="1"/>
          </p:cNvSpPr>
          <p:nvPr/>
        </p:nvSpPr>
        <p:spPr bwMode="auto">
          <a:xfrm>
            <a:off x="684213" y="4868863"/>
            <a:ext cx="7775575" cy="1081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ěk </a:t>
            </a:r>
            <a:r>
              <a:rPr lang="cs-CZ" sz="1600" dirty="0">
                <a:solidFill>
                  <a:schemeClr val="bg1">
                    <a:lumMod val="50000"/>
                  </a:schemeClr>
                </a:solidFill>
              </a:rPr>
              <a:t>- nejčastější skupina 15 - 24 let</a:t>
            </a:r>
          </a:p>
          <a:p>
            <a:pPr marL="457200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tabLst>
                <a:tab pos="271463" algn="l"/>
              </a:tabLst>
              <a:defRPr/>
            </a:pPr>
            <a:r>
              <a:rPr lang="cs-CZ" sz="1600" dirty="0">
                <a:solidFill>
                  <a:schemeClr val="bg1">
                    <a:lumMod val="50000"/>
                  </a:schemeClr>
                </a:solidFill>
              </a:rPr>
              <a:t>		       - děti 5 - 10 let</a:t>
            </a:r>
          </a:p>
          <a:p>
            <a:pPr marL="457200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tabLst>
                <a:tab pos="271463" algn="l"/>
              </a:tabLst>
              <a:defRPr/>
            </a:pPr>
            <a:r>
              <a:rPr lang="cs-CZ" sz="1600" dirty="0">
                <a:solidFill>
                  <a:schemeClr val="bg1">
                    <a:lumMod val="50000"/>
                  </a:schemeClr>
                </a:solidFill>
              </a:rPr>
              <a:t>		       - senioři</a:t>
            </a:r>
          </a:p>
        </p:txBody>
      </p:sp>
      <p:sp>
        <p:nvSpPr>
          <p:cNvPr id="14" name="Text Box 10"/>
          <p:cNvSpPr txBox="1">
            <a:spLocks noChangeArrowheads="1"/>
          </p:cNvSpPr>
          <p:nvPr/>
        </p:nvSpPr>
        <p:spPr bwMode="auto">
          <a:xfrm>
            <a:off x="684213" y="1341438"/>
            <a:ext cx="777557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hlaví - muži 2 – </a:t>
            </a:r>
            <a:r>
              <a:rPr lang="cs-CZ" sz="16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2</a:t>
            </a: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8x více než žen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0" y="0"/>
            <a:ext cx="9144000" cy="69215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0" y="0"/>
            <a:ext cx="9144000" cy="692150"/>
          </a:xfrm>
          <a:prstGeom prst="rect">
            <a:avLst/>
          </a:prstGeom>
        </p:spPr>
        <p:txBody>
          <a:bodyPr anchor="ctr"/>
          <a:lstStyle/>
          <a:p>
            <a:r>
              <a:rPr lang="cs-CZ" b="1">
                <a:solidFill>
                  <a:schemeClr val="bg1"/>
                </a:solidFill>
              </a:rPr>
              <a:t>3) MECHANISMY</a:t>
            </a:r>
            <a:endParaRPr lang="de-DE" b="1">
              <a:solidFill>
                <a:schemeClr val="bg1"/>
              </a:solidFill>
            </a:endParaRPr>
          </a:p>
        </p:txBody>
      </p:sp>
      <p:sp>
        <p:nvSpPr>
          <p:cNvPr id="44" name="Text Box 10"/>
          <p:cNvSpPr txBox="1">
            <a:spLocks noChangeArrowheads="1"/>
          </p:cNvSpPr>
          <p:nvPr/>
        </p:nvSpPr>
        <p:spPr bwMode="auto">
          <a:xfrm>
            <a:off x="684213" y="1196975"/>
            <a:ext cx="777557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ranslační </a:t>
            </a:r>
            <a:r>
              <a:rPr lang="cs-CZ" sz="1600" dirty="0">
                <a:solidFill>
                  <a:schemeClr val="bg1">
                    <a:lumMod val="50000"/>
                  </a:schemeClr>
                </a:solidFill>
              </a:rPr>
              <a:t>- náraz do překážky nebo předmět do hlavy</a:t>
            </a:r>
          </a:p>
        </p:txBody>
      </p:sp>
      <p:sp>
        <p:nvSpPr>
          <p:cNvPr id="8" name="Text Box 10"/>
          <p:cNvSpPr txBox="1">
            <a:spLocks noChangeArrowheads="1"/>
          </p:cNvSpPr>
          <p:nvPr/>
        </p:nvSpPr>
        <p:spPr bwMode="auto">
          <a:xfrm>
            <a:off x="684213" y="2133600"/>
            <a:ext cx="777557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kcelerační </a:t>
            </a:r>
            <a:r>
              <a:rPr lang="cs-CZ" sz="1600" dirty="0">
                <a:solidFill>
                  <a:schemeClr val="bg1">
                    <a:lumMod val="50000"/>
                  </a:schemeClr>
                </a:solidFill>
              </a:rPr>
              <a:t>- zrychlení bez nárazu</a:t>
            </a:r>
          </a:p>
        </p:txBody>
      </p:sp>
      <p:sp>
        <p:nvSpPr>
          <p:cNvPr id="9" name="Text Box 10"/>
          <p:cNvSpPr txBox="1">
            <a:spLocks noChangeArrowheads="1"/>
          </p:cNvSpPr>
          <p:nvPr/>
        </p:nvSpPr>
        <p:spPr bwMode="auto">
          <a:xfrm>
            <a:off x="684213" y="3068638"/>
            <a:ext cx="777557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ecelerační</a:t>
            </a: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cs-CZ" sz="1600" dirty="0">
                <a:solidFill>
                  <a:schemeClr val="bg1">
                    <a:lumMod val="50000"/>
                  </a:schemeClr>
                </a:solidFill>
              </a:rPr>
              <a:t>- zpomalení</a:t>
            </a:r>
          </a:p>
        </p:txBody>
      </p:sp>
      <p:sp>
        <p:nvSpPr>
          <p:cNvPr id="10" name="Text Box 10"/>
          <p:cNvSpPr txBox="1">
            <a:spLocks noChangeArrowheads="1"/>
          </p:cNvSpPr>
          <p:nvPr/>
        </p:nvSpPr>
        <p:spPr bwMode="auto">
          <a:xfrm>
            <a:off x="684213" y="4005263"/>
            <a:ext cx="777557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otační </a:t>
            </a:r>
            <a:r>
              <a:rPr lang="cs-CZ" sz="1600" dirty="0">
                <a:solidFill>
                  <a:schemeClr val="bg1">
                    <a:lumMod val="50000"/>
                  </a:schemeClr>
                </a:solidFill>
              </a:rPr>
              <a:t>- prudké otočení - úhlové zrychlení</a:t>
            </a:r>
          </a:p>
        </p:txBody>
      </p:sp>
      <p:sp>
        <p:nvSpPr>
          <p:cNvPr id="11" name="Text Box 10"/>
          <p:cNvSpPr txBox="1">
            <a:spLocks noChangeArrowheads="1"/>
          </p:cNvSpPr>
          <p:nvPr/>
        </p:nvSpPr>
        <p:spPr bwMode="auto">
          <a:xfrm>
            <a:off x="684213" y="5013325"/>
            <a:ext cx="777557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 KCP téměř vždy kombinace těchto mechanismů</a:t>
            </a:r>
            <a:endParaRPr lang="cs-CZ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0" y="0"/>
            <a:ext cx="9144000" cy="69215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0" y="0"/>
            <a:ext cx="9144000" cy="692150"/>
          </a:xfrm>
          <a:prstGeom prst="rect">
            <a:avLst/>
          </a:prstGeom>
        </p:spPr>
        <p:txBody>
          <a:bodyPr anchor="ctr"/>
          <a:lstStyle/>
          <a:p>
            <a:r>
              <a:rPr lang="cs-CZ" b="1">
                <a:solidFill>
                  <a:schemeClr val="bg1"/>
                </a:solidFill>
              </a:rPr>
              <a:t>4) ZÁKLADNÍ KLASIFIKACE KCP</a:t>
            </a:r>
            <a:endParaRPr lang="de-DE" b="1">
              <a:solidFill>
                <a:schemeClr val="bg1"/>
              </a:solidFill>
            </a:endParaRPr>
          </a:p>
        </p:txBody>
      </p:sp>
      <p:sp>
        <p:nvSpPr>
          <p:cNvPr id="44" name="Text Box 10"/>
          <p:cNvSpPr txBox="1">
            <a:spLocks noChangeArrowheads="1"/>
          </p:cNvSpPr>
          <p:nvPr/>
        </p:nvSpPr>
        <p:spPr bwMode="auto">
          <a:xfrm>
            <a:off x="971550" y="2060575"/>
            <a:ext cx="25209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algn="ctr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tabLst>
                <a:tab pos="271463" algn="l"/>
              </a:tabLst>
              <a:defRPr/>
            </a:pP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časová posloupnost</a:t>
            </a:r>
            <a:endParaRPr lang="cs-CZ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Text Box 10"/>
          <p:cNvSpPr txBox="1">
            <a:spLocks noChangeArrowheads="1"/>
          </p:cNvSpPr>
          <p:nvPr/>
        </p:nvSpPr>
        <p:spPr bwMode="auto">
          <a:xfrm>
            <a:off x="5292725" y="2060575"/>
            <a:ext cx="30956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algn="ctr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tabLst>
                <a:tab pos="271463" algn="l"/>
              </a:tabLst>
              <a:defRPr/>
            </a:pPr>
            <a:r>
              <a:rPr lang="cs-CZ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storová charakteristika</a:t>
            </a:r>
            <a:endParaRPr lang="cs-CZ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Text Box 10"/>
          <p:cNvSpPr txBox="1">
            <a:spLocks noChangeArrowheads="1"/>
          </p:cNvSpPr>
          <p:nvPr/>
        </p:nvSpPr>
        <p:spPr bwMode="auto">
          <a:xfrm>
            <a:off x="971550" y="2924175"/>
            <a:ext cx="2520950" cy="43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algn="ctr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tabLst>
                <a:tab pos="271463" algn="l"/>
              </a:tabLst>
              <a:defRPr/>
            </a:pPr>
            <a:r>
              <a:rPr lang="cs-CZ" dirty="0">
                <a:solidFill>
                  <a:schemeClr val="bg1">
                    <a:lumMod val="50000"/>
                  </a:schemeClr>
                </a:solidFill>
              </a:rPr>
              <a:t>primární</a:t>
            </a:r>
          </a:p>
        </p:txBody>
      </p:sp>
      <p:sp>
        <p:nvSpPr>
          <p:cNvPr id="14" name="Text Box 10"/>
          <p:cNvSpPr txBox="1">
            <a:spLocks noChangeArrowheads="1"/>
          </p:cNvSpPr>
          <p:nvPr/>
        </p:nvSpPr>
        <p:spPr bwMode="auto">
          <a:xfrm>
            <a:off x="971550" y="3860800"/>
            <a:ext cx="25209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algn="ctr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tabLst>
                <a:tab pos="271463" algn="l"/>
              </a:tabLst>
              <a:defRPr/>
            </a:pPr>
            <a:r>
              <a:rPr lang="cs-CZ" dirty="0">
                <a:solidFill>
                  <a:schemeClr val="bg1">
                    <a:lumMod val="50000"/>
                  </a:schemeClr>
                </a:solidFill>
              </a:rPr>
              <a:t>sekundární</a:t>
            </a:r>
          </a:p>
        </p:txBody>
      </p:sp>
      <p:sp>
        <p:nvSpPr>
          <p:cNvPr id="17" name="Text Box 10"/>
          <p:cNvSpPr txBox="1">
            <a:spLocks noChangeArrowheads="1"/>
          </p:cNvSpPr>
          <p:nvPr/>
        </p:nvSpPr>
        <p:spPr bwMode="auto">
          <a:xfrm>
            <a:off x="5580063" y="2924175"/>
            <a:ext cx="2520950" cy="43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algn="ctr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tabLst>
                <a:tab pos="271463" algn="l"/>
              </a:tabLst>
              <a:defRPr/>
            </a:pPr>
            <a:r>
              <a:rPr lang="cs-CZ" dirty="0">
                <a:solidFill>
                  <a:schemeClr val="bg1">
                    <a:lumMod val="50000"/>
                  </a:schemeClr>
                </a:solidFill>
              </a:rPr>
              <a:t>fokální</a:t>
            </a:r>
          </a:p>
        </p:txBody>
      </p:sp>
      <p:sp>
        <p:nvSpPr>
          <p:cNvPr id="18" name="Text Box 10"/>
          <p:cNvSpPr txBox="1">
            <a:spLocks noChangeArrowheads="1"/>
          </p:cNvSpPr>
          <p:nvPr/>
        </p:nvSpPr>
        <p:spPr bwMode="auto">
          <a:xfrm>
            <a:off x="5580063" y="3860800"/>
            <a:ext cx="25209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algn="ctr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tabLst>
                <a:tab pos="271463" algn="l"/>
              </a:tabLst>
              <a:defRPr/>
            </a:pPr>
            <a:r>
              <a:rPr lang="cs-CZ" dirty="0">
                <a:solidFill>
                  <a:schemeClr val="bg1">
                    <a:lumMod val="50000"/>
                  </a:schemeClr>
                </a:solidFill>
              </a:rPr>
              <a:t>difúzní</a:t>
            </a:r>
          </a:p>
        </p:txBody>
      </p:sp>
      <p:cxnSp>
        <p:nvCxnSpPr>
          <p:cNvPr id="20" name="Přímá spojovací šipka 19"/>
          <p:cNvCxnSpPr/>
          <p:nvPr/>
        </p:nvCxnSpPr>
        <p:spPr>
          <a:xfrm>
            <a:off x="3708400" y="3573463"/>
            <a:ext cx="1368425" cy="1587"/>
          </a:xfrm>
          <a:prstGeom prst="straightConnector1">
            <a:avLst/>
          </a:prstGeom>
          <a:ln w="63500">
            <a:solidFill>
              <a:schemeClr val="tx1">
                <a:lumMod val="65000"/>
                <a:lumOff val="35000"/>
              </a:schemeClr>
            </a:soli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bdélník 10"/>
          <p:cNvSpPr/>
          <p:nvPr/>
        </p:nvSpPr>
        <p:spPr>
          <a:xfrm>
            <a:off x="1116013" y="2636838"/>
            <a:ext cx="2303462" cy="2016125"/>
          </a:xfrm>
          <a:prstGeom prst="rect">
            <a:avLst/>
          </a:prstGeom>
          <a:noFill/>
          <a:ln w="158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15" name="Obdélník 14"/>
          <p:cNvSpPr/>
          <p:nvPr/>
        </p:nvSpPr>
        <p:spPr>
          <a:xfrm>
            <a:off x="5435600" y="2636838"/>
            <a:ext cx="2881313" cy="2016125"/>
          </a:xfrm>
          <a:prstGeom prst="rect">
            <a:avLst/>
          </a:prstGeom>
          <a:noFill/>
          <a:ln w="158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0" y="0"/>
            <a:ext cx="9144000" cy="69215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0" y="0"/>
            <a:ext cx="9144000" cy="692150"/>
          </a:xfrm>
          <a:prstGeom prst="rect">
            <a:avLst/>
          </a:prstGeom>
        </p:spPr>
        <p:txBody>
          <a:bodyPr anchor="ctr"/>
          <a:lstStyle/>
          <a:p>
            <a:r>
              <a:rPr lang="cs-CZ" b="1">
                <a:solidFill>
                  <a:schemeClr val="bg1"/>
                </a:solidFill>
              </a:rPr>
              <a:t>4a) PRIMÁRNÍ</a:t>
            </a:r>
            <a:endParaRPr lang="de-DE" b="1">
              <a:solidFill>
                <a:schemeClr val="bg1"/>
              </a:solidFill>
            </a:endParaRPr>
          </a:p>
        </p:txBody>
      </p:sp>
      <p:sp>
        <p:nvSpPr>
          <p:cNvPr id="44" name="Text Box 10"/>
          <p:cNvSpPr txBox="1">
            <a:spLocks noChangeArrowheads="1"/>
          </p:cNvSpPr>
          <p:nvPr/>
        </p:nvSpPr>
        <p:spPr bwMode="auto">
          <a:xfrm>
            <a:off x="684213" y="1052513"/>
            <a:ext cx="777557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zlomeniny</a:t>
            </a:r>
          </a:p>
        </p:txBody>
      </p:sp>
      <p:sp>
        <p:nvSpPr>
          <p:cNvPr id="12" name="Text Box 10"/>
          <p:cNvSpPr txBox="1">
            <a:spLocks noChangeArrowheads="1"/>
          </p:cNvSpPr>
          <p:nvPr/>
        </p:nvSpPr>
        <p:spPr bwMode="auto">
          <a:xfrm>
            <a:off x="684213" y="4005263"/>
            <a:ext cx="7775575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ifúzní poranění mozku </a:t>
            </a:r>
            <a:r>
              <a:rPr lang="cs-CZ" sz="1600" dirty="0">
                <a:solidFill>
                  <a:schemeClr val="bg1">
                    <a:lumMod val="50000"/>
                  </a:schemeClr>
                </a:solidFill>
              </a:rPr>
              <a:t>- </a:t>
            </a:r>
            <a:r>
              <a:rPr lang="cs-CZ" sz="1600" dirty="0" err="1">
                <a:solidFill>
                  <a:schemeClr val="bg1">
                    <a:lumMod val="50000"/>
                  </a:schemeClr>
                </a:solidFill>
              </a:rPr>
              <a:t>komoce</a:t>
            </a:r>
            <a:endParaRPr lang="cs-CZ" sz="1600" dirty="0">
              <a:solidFill>
                <a:schemeClr val="bg1">
                  <a:lumMod val="50000"/>
                </a:schemeClr>
              </a:solidFill>
            </a:endParaRPr>
          </a:p>
          <a:p>
            <a:pPr marL="457200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tabLst>
                <a:tab pos="271463" algn="l"/>
              </a:tabLst>
              <a:defRPr/>
            </a:pPr>
            <a:r>
              <a:rPr lang="cs-CZ" sz="1600" dirty="0">
                <a:solidFill>
                  <a:schemeClr val="bg1">
                    <a:lumMod val="50000"/>
                  </a:schemeClr>
                </a:solidFill>
              </a:rPr>
              <a:t>				                 - difúzní </a:t>
            </a:r>
            <a:r>
              <a:rPr lang="cs-CZ" sz="1600" dirty="0" err="1">
                <a:solidFill>
                  <a:schemeClr val="bg1">
                    <a:lumMod val="50000"/>
                  </a:schemeClr>
                </a:solidFill>
              </a:rPr>
              <a:t>axonální</a:t>
            </a:r>
            <a:r>
              <a:rPr lang="cs-CZ" sz="1600" dirty="0">
                <a:solidFill>
                  <a:schemeClr val="bg1">
                    <a:lumMod val="50000"/>
                  </a:schemeClr>
                </a:solidFill>
              </a:rPr>
              <a:t> poranění</a:t>
            </a:r>
          </a:p>
        </p:txBody>
      </p:sp>
      <p:sp>
        <p:nvSpPr>
          <p:cNvPr id="13" name="Text Box 10"/>
          <p:cNvSpPr txBox="1">
            <a:spLocks noChangeArrowheads="1"/>
          </p:cNvSpPr>
          <p:nvPr/>
        </p:nvSpPr>
        <p:spPr bwMode="auto">
          <a:xfrm>
            <a:off x="684213" y="2565400"/>
            <a:ext cx="7775575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ematomy</a:t>
            </a:r>
            <a:r>
              <a:rPr lang="cs-CZ" sz="16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cs-CZ" sz="1600" dirty="0">
                <a:solidFill>
                  <a:schemeClr val="bg1">
                    <a:lumMod val="50000"/>
                  </a:schemeClr>
                </a:solidFill>
              </a:rPr>
              <a:t>- </a:t>
            </a:r>
            <a:r>
              <a:rPr lang="cs-CZ" sz="1600" dirty="0" err="1">
                <a:solidFill>
                  <a:schemeClr val="bg1">
                    <a:lumMod val="50000"/>
                  </a:schemeClr>
                </a:solidFill>
              </a:rPr>
              <a:t>subdutální</a:t>
            </a:r>
            <a:endParaRPr lang="cs-CZ" sz="1600" dirty="0">
              <a:solidFill>
                <a:schemeClr val="bg1">
                  <a:lumMod val="50000"/>
                </a:schemeClr>
              </a:solidFill>
            </a:endParaRPr>
          </a:p>
          <a:p>
            <a:pPr marL="457200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tabLst>
                <a:tab pos="271463" algn="l"/>
              </a:tabLst>
              <a:defRPr/>
            </a:pPr>
            <a:r>
              <a:rPr lang="cs-CZ" sz="1600" dirty="0">
                <a:solidFill>
                  <a:schemeClr val="bg1">
                    <a:lumMod val="50000"/>
                  </a:schemeClr>
                </a:solidFill>
              </a:rPr>
              <a:t>		                   - </a:t>
            </a:r>
            <a:r>
              <a:rPr lang="cs-CZ" sz="1600" dirty="0" err="1">
                <a:solidFill>
                  <a:schemeClr val="bg1">
                    <a:lumMod val="50000"/>
                  </a:schemeClr>
                </a:solidFill>
              </a:rPr>
              <a:t>epidutální</a:t>
            </a:r>
            <a:endParaRPr lang="cs-CZ" sz="1600" dirty="0">
              <a:solidFill>
                <a:schemeClr val="bg1">
                  <a:lumMod val="50000"/>
                </a:schemeClr>
              </a:solidFill>
            </a:endParaRPr>
          </a:p>
          <a:p>
            <a:pPr marL="457200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tabLst>
                <a:tab pos="271463" algn="l"/>
              </a:tabLst>
              <a:defRPr/>
            </a:pPr>
            <a:r>
              <a:rPr lang="cs-CZ" sz="1600" dirty="0">
                <a:solidFill>
                  <a:schemeClr val="bg1">
                    <a:lumMod val="50000"/>
                  </a:schemeClr>
                </a:solidFill>
              </a:rPr>
              <a:t>		                   - </a:t>
            </a:r>
            <a:r>
              <a:rPr lang="cs-CZ" sz="1600" dirty="0" err="1">
                <a:solidFill>
                  <a:schemeClr val="bg1">
                    <a:lumMod val="50000"/>
                  </a:schemeClr>
                </a:solidFill>
              </a:rPr>
              <a:t>intracerebrální</a:t>
            </a:r>
            <a:endParaRPr lang="cs-CZ" sz="1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Text Box 10"/>
          <p:cNvSpPr txBox="1">
            <a:spLocks noChangeArrowheads="1"/>
          </p:cNvSpPr>
          <p:nvPr/>
        </p:nvSpPr>
        <p:spPr bwMode="auto">
          <a:xfrm>
            <a:off x="684213" y="1773238"/>
            <a:ext cx="777557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kální</a:t>
            </a:r>
            <a:r>
              <a:rPr lang="cs-CZ" sz="16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cs-CZ" sz="1600" dirty="0">
                <a:solidFill>
                  <a:schemeClr val="bg1">
                    <a:lumMod val="50000"/>
                  </a:schemeClr>
                </a:solidFill>
              </a:rPr>
              <a:t>- kontuze</a:t>
            </a:r>
          </a:p>
        </p:txBody>
      </p:sp>
      <p:sp>
        <p:nvSpPr>
          <p:cNvPr id="9" name="Text Box 10"/>
          <p:cNvSpPr txBox="1">
            <a:spLocks noChangeArrowheads="1"/>
          </p:cNvSpPr>
          <p:nvPr/>
        </p:nvSpPr>
        <p:spPr bwMode="auto">
          <a:xfrm>
            <a:off x="684213" y="5157788"/>
            <a:ext cx="777557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cerace</a:t>
            </a:r>
            <a:endParaRPr lang="cs-CZ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ext Box 10"/>
          <p:cNvSpPr txBox="1">
            <a:spLocks noChangeArrowheads="1"/>
          </p:cNvSpPr>
          <p:nvPr/>
        </p:nvSpPr>
        <p:spPr bwMode="auto">
          <a:xfrm>
            <a:off x="684213" y="5876925"/>
            <a:ext cx="777557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enetrující poranění</a:t>
            </a:r>
            <a:endParaRPr lang="cs-CZ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0" y="0"/>
            <a:ext cx="9144000" cy="69215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0" y="0"/>
            <a:ext cx="9144000" cy="692150"/>
          </a:xfrm>
          <a:prstGeom prst="rect">
            <a:avLst/>
          </a:prstGeom>
        </p:spPr>
        <p:txBody>
          <a:bodyPr anchor="ctr"/>
          <a:lstStyle/>
          <a:p>
            <a:r>
              <a:rPr lang="cs-CZ" b="1">
                <a:solidFill>
                  <a:schemeClr val="bg1"/>
                </a:solidFill>
              </a:rPr>
              <a:t>4b) SEKUNDÁRNÍ</a:t>
            </a:r>
            <a:endParaRPr lang="de-DE" b="1">
              <a:solidFill>
                <a:schemeClr val="bg1"/>
              </a:solidFill>
            </a:endParaRPr>
          </a:p>
        </p:txBody>
      </p:sp>
      <p:sp>
        <p:nvSpPr>
          <p:cNvPr id="44" name="Text Box 10"/>
          <p:cNvSpPr txBox="1">
            <a:spLocks noChangeArrowheads="1"/>
          </p:cNvSpPr>
          <p:nvPr/>
        </p:nvSpPr>
        <p:spPr bwMode="auto">
          <a:xfrm>
            <a:off x="684213" y="1052513"/>
            <a:ext cx="7775575" cy="51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eaLnBrk="0" hangingPunct="0">
              <a:lnSpc>
                <a:spcPct val="200000"/>
              </a:lnSpc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dém</a:t>
            </a:r>
          </a:p>
          <a:p>
            <a:pPr marL="457200" indent="-457200" eaLnBrk="0" hangingPunct="0">
              <a:lnSpc>
                <a:spcPct val="200000"/>
              </a:lnSpc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škození mozkové kúry</a:t>
            </a:r>
          </a:p>
          <a:p>
            <a:pPr marL="457200" indent="-457200" eaLnBrk="0" hangingPunct="0">
              <a:lnSpc>
                <a:spcPct val="200000"/>
              </a:lnSpc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raumatické SAK</a:t>
            </a:r>
          </a:p>
          <a:p>
            <a:pPr marL="457200" indent="-457200" eaLnBrk="0" hangingPunct="0">
              <a:lnSpc>
                <a:spcPct val="200000"/>
              </a:lnSpc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ematom</a:t>
            </a:r>
          </a:p>
          <a:p>
            <a:pPr marL="457200" indent="-457200" eaLnBrk="0" hangingPunct="0">
              <a:lnSpc>
                <a:spcPct val="200000"/>
              </a:lnSpc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itchFamily="2" charset="2"/>
              <a:buChar char="§"/>
              <a:tabLst>
                <a:tab pos="271463" algn="l"/>
              </a:tabLst>
              <a:defRPr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zduření mozku způsobené </a:t>
            </a:r>
            <a:r>
              <a:rPr lang="cs-CZ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vazodilatací</a:t>
            </a:r>
            <a:endParaRPr lang="cs-CZ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1" name="Text Box 10"/>
          <p:cNvSpPr txBox="1">
            <a:spLocks noChangeArrowheads="1"/>
          </p:cNvSpPr>
          <p:nvPr/>
        </p:nvSpPr>
        <p:spPr bwMode="auto">
          <a:xfrm>
            <a:off x="1116013" y="5084763"/>
            <a:ext cx="7777162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 eaLnBrk="0" hangingPunct="0">
              <a:spcBef>
                <a:spcPct val="50000"/>
              </a:spcBef>
              <a:buClr>
                <a:schemeClr val="tx1">
                  <a:lumMod val="65000"/>
                  <a:lumOff val="35000"/>
                </a:schemeClr>
              </a:buClr>
              <a:buSzPct val="150000"/>
              <a:tabLst>
                <a:tab pos="271463" algn="l"/>
              </a:tabLst>
              <a:defRPr/>
            </a:pPr>
            <a:r>
              <a:rPr lang="cs-CZ" sz="1600" b="1" dirty="0">
                <a:solidFill>
                  <a:srgbClr val="FF0000"/>
                </a:solidFill>
              </a:rPr>
              <a:t>ischémie ► nekróza</a:t>
            </a:r>
          </a:p>
        </p:txBody>
      </p:sp>
      <p:sp>
        <p:nvSpPr>
          <p:cNvPr id="22" name="Rovnoramenný trojúhelník 21"/>
          <p:cNvSpPr/>
          <p:nvPr/>
        </p:nvSpPr>
        <p:spPr>
          <a:xfrm rot="17924918">
            <a:off x="1861344" y="4080669"/>
            <a:ext cx="719138" cy="647700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0" y="0"/>
            <a:ext cx="9144000" cy="69215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0" y="0"/>
            <a:ext cx="9144000" cy="692150"/>
          </a:xfrm>
          <a:prstGeom prst="rect">
            <a:avLst/>
          </a:prstGeom>
        </p:spPr>
        <p:txBody>
          <a:bodyPr anchor="ctr"/>
          <a:lstStyle/>
          <a:p>
            <a:r>
              <a:rPr lang="cs-CZ" b="1">
                <a:solidFill>
                  <a:schemeClr val="bg1"/>
                </a:solidFill>
              </a:rPr>
              <a:t>4c) SEKUNDÁRNÍ SYSTÉMOVÉ INZULTY</a:t>
            </a:r>
            <a:endParaRPr lang="de-DE" b="1">
              <a:solidFill>
                <a:schemeClr val="bg1"/>
              </a:solidFill>
            </a:endParaRPr>
          </a:p>
        </p:txBody>
      </p:sp>
      <p:graphicFrame>
        <p:nvGraphicFramePr>
          <p:cNvPr id="5" name="Tabulka 4"/>
          <p:cNvGraphicFramePr>
            <a:graphicFrameLocks noGrp="1"/>
          </p:cNvGraphicFramePr>
          <p:nvPr/>
        </p:nvGraphicFramePr>
        <p:xfrm>
          <a:off x="684213" y="1341438"/>
          <a:ext cx="7776864" cy="3528394"/>
        </p:xfrm>
        <a:graphic>
          <a:graphicData uri="http://schemas.openxmlformats.org/drawingml/2006/table">
            <a:tbl>
              <a:tblPr/>
              <a:tblGrid>
                <a:gridCol w="310188"/>
                <a:gridCol w="1490012"/>
                <a:gridCol w="4492191"/>
                <a:gridCol w="1484473"/>
              </a:tblGrid>
              <a:tr h="51635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inzult</a:t>
                      </a:r>
                    </a:p>
                  </a:txBody>
                  <a:tcPr marL="6513" marR="6513" marT="6513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příčina v akutní fázi KCP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100" b="1" i="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4302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1.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cs-CZ" sz="1400" b="1" i="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hypoxémie</a:t>
                      </a:r>
                      <a:endParaRPr lang="cs-CZ" sz="14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/>
                      </a:endParaRP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hypoventilace, trauma hrudníku, aspirace, interní onemocnění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▲ CBF, CBV a ICP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4302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2.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cs-CZ" sz="1400" b="1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hypotenze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hypovolémie</a:t>
                      </a:r>
                      <a:r>
                        <a:rPr lang="cs-CZ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, míšní trauma, kardiální dekompenzace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▼ CBF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4302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3.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cs-CZ" sz="1400" b="1" i="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hyperkapnie</a:t>
                      </a:r>
                      <a:endParaRPr lang="cs-CZ" sz="14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/>
                      </a:endParaRP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respirační deprese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▲ CBF, CBV a ICP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4302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4.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cs-CZ" sz="1400" b="1" i="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hypokapnie</a:t>
                      </a:r>
                      <a:endParaRPr lang="cs-CZ" sz="14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/>
                      </a:endParaRP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hyperventilace</a:t>
                      </a:r>
                      <a:r>
                        <a:rPr lang="cs-CZ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 spontánní nebo indukovaná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redukce CBF a ICP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4302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5.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cs-CZ" sz="1400" b="1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hyperglykémie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stresová reakce, </a:t>
                      </a:r>
                      <a:r>
                        <a:rPr lang="cs-CZ" sz="1200" b="0" i="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iatrogenní</a:t>
                      </a:r>
                      <a:r>
                        <a:rPr lang="cs-CZ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, hypotermie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4302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6.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cs-CZ" sz="1400" b="1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hypoglykémie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předchorobí, abusus alkoholu - zhoršení neurologického defektu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43029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7.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 fontAlgn="ctr"/>
                      <a:r>
                        <a:rPr lang="cs-CZ" sz="1400" b="1" i="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hyponatrémie</a:t>
                      </a:r>
                      <a:endParaRPr lang="cs-CZ" sz="14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/>
                      </a:endParaRP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iatrogenní - nevhodné podání roztoků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/>
                        </a:rPr>
                        <a:t>▲ ICP</a:t>
                      </a:r>
                    </a:p>
                  </a:txBody>
                  <a:tcPr marL="6513" marR="6513" marT="651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1903" name="Line 15"/>
          <p:cNvSpPr>
            <a:spLocks noChangeShapeType="1"/>
          </p:cNvSpPr>
          <p:nvPr/>
        </p:nvSpPr>
        <p:spPr bwMode="auto">
          <a:xfrm flipV="1">
            <a:off x="0" y="2852738"/>
            <a:ext cx="9144000" cy="0"/>
          </a:xfrm>
          <a:prstGeom prst="line">
            <a:avLst/>
          </a:prstGeom>
          <a:noFill/>
          <a:ln w="38100">
            <a:solidFill>
              <a:schemeClr val="bg1">
                <a:lumMod val="75000"/>
              </a:schemeClr>
            </a:solidFill>
            <a:prstDash val="sysDot"/>
            <a:round/>
            <a:headEnd/>
            <a:tailEnd/>
          </a:ln>
          <a:effectLst/>
        </p:spPr>
        <p:txBody>
          <a:bodyPr wrap="none"/>
          <a:lstStyle/>
          <a:p>
            <a:pPr>
              <a:defRPr/>
            </a:pPr>
            <a:endParaRPr lang="cs-CZ" sz="1400"/>
          </a:p>
        </p:txBody>
      </p:sp>
      <p:sp>
        <p:nvSpPr>
          <p:cNvPr id="24578" name="Text Box 23"/>
          <p:cNvSpPr txBox="1">
            <a:spLocks noChangeArrowheads="1"/>
          </p:cNvSpPr>
          <p:nvPr/>
        </p:nvSpPr>
        <p:spPr bwMode="auto">
          <a:xfrm>
            <a:off x="2555875" y="4868863"/>
            <a:ext cx="935038" cy="307975"/>
          </a:xfrm>
          <a:prstGeom prst="rect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cs-CZ" sz="1400" b="1">
                <a:sym typeface="Wingdings" pitchFamily="2" charset="2"/>
              </a:rPr>
              <a:t> CPP</a:t>
            </a:r>
          </a:p>
        </p:txBody>
      </p:sp>
      <p:sp>
        <p:nvSpPr>
          <p:cNvPr id="24579" name="Text Box 24"/>
          <p:cNvSpPr txBox="1">
            <a:spLocks noChangeArrowheads="1"/>
          </p:cNvSpPr>
          <p:nvPr/>
        </p:nvSpPr>
        <p:spPr bwMode="auto">
          <a:xfrm>
            <a:off x="5364163" y="4868863"/>
            <a:ext cx="936625" cy="307975"/>
          </a:xfrm>
          <a:prstGeom prst="rect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cs-CZ" sz="1400" b="1">
                <a:sym typeface="Wingdings" pitchFamily="2" charset="2"/>
              </a:rPr>
              <a:t> CBF</a:t>
            </a:r>
          </a:p>
        </p:txBody>
      </p:sp>
      <p:sp>
        <p:nvSpPr>
          <p:cNvPr id="24580" name="Text Box 25"/>
          <p:cNvSpPr txBox="1">
            <a:spLocks noChangeArrowheads="1"/>
          </p:cNvSpPr>
          <p:nvPr/>
        </p:nvSpPr>
        <p:spPr bwMode="auto">
          <a:xfrm>
            <a:off x="4067175" y="4868863"/>
            <a:ext cx="865188" cy="307975"/>
          </a:xfrm>
          <a:prstGeom prst="rect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cs-CZ" sz="1400" b="1">
                <a:sym typeface="Wingdings" pitchFamily="2" charset="2"/>
              </a:rPr>
              <a:t> ICP</a:t>
            </a:r>
          </a:p>
        </p:txBody>
      </p:sp>
      <p:sp>
        <p:nvSpPr>
          <p:cNvPr id="24581" name="Text Box 26"/>
          <p:cNvSpPr txBox="1">
            <a:spLocks noChangeArrowheads="1"/>
          </p:cNvSpPr>
          <p:nvPr/>
        </p:nvSpPr>
        <p:spPr bwMode="auto">
          <a:xfrm>
            <a:off x="7524750" y="4868863"/>
            <a:ext cx="1296988" cy="307975"/>
          </a:xfrm>
          <a:prstGeom prst="rect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cs-CZ" sz="1400" b="1">
                <a:sym typeface="Wingdings" pitchFamily="2" charset="2"/>
              </a:rPr>
              <a:t>Apoptosa</a:t>
            </a:r>
          </a:p>
        </p:txBody>
      </p:sp>
      <p:sp>
        <p:nvSpPr>
          <p:cNvPr id="24582" name="Text Box 27"/>
          <p:cNvSpPr txBox="1">
            <a:spLocks noChangeArrowheads="1"/>
          </p:cNvSpPr>
          <p:nvPr/>
        </p:nvSpPr>
        <p:spPr bwMode="auto">
          <a:xfrm>
            <a:off x="3708400" y="6381750"/>
            <a:ext cx="1655763" cy="338138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cs-CZ" sz="1600" b="1">
                <a:solidFill>
                  <a:schemeClr val="bg1"/>
                </a:solidFill>
              </a:rPr>
              <a:t>celulární smrt</a:t>
            </a:r>
          </a:p>
        </p:txBody>
      </p:sp>
      <p:sp>
        <p:nvSpPr>
          <p:cNvPr id="421918" name="Text Box 30"/>
          <p:cNvSpPr txBox="1">
            <a:spLocks noChangeArrowheads="1"/>
          </p:cNvSpPr>
          <p:nvPr/>
        </p:nvSpPr>
        <p:spPr bwMode="auto">
          <a:xfrm>
            <a:off x="3924300" y="5661025"/>
            <a:ext cx="1296988" cy="30797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cs-CZ" sz="1400" b="1" dirty="0">
                <a:solidFill>
                  <a:schemeClr val="bg1"/>
                </a:solidFill>
                <a:sym typeface="Wingdings" pitchFamily="2" charset="2"/>
              </a:rPr>
              <a:t>ischémie</a:t>
            </a:r>
          </a:p>
        </p:txBody>
      </p:sp>
      <p:sp>
        <p:nvSpPr>
          <p:cNvPr id="24584" name="Line 31"/>
          <p:cNvSpPr>
            <a:spLocks noChangeShapeType="1"/>
          </p:cNvSpPr>
          <p:nvPr/>
        </p:nvSpPr>
        <p:spPr bwMode="auto">
          <a:xfrm>
            <a:off x="3059113" y="5445125"/>
            <a:ext cx="2808287" cy="0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/>
            <a:tailEnd/>
          </a:ln>
        </p:spPr>
        <p:txBody>
          <a:bodyPr wrap="none"/>
          <a:lstStyle/>
          <a:p>
            <a:endParaRPr lang="cs-CZ"/>
          </a:p>
        </p:txBody>
      </p:sp>
      <p:sp>
        <p:nvSpPr>
          <p:cNvPr id="24585" name="Line 32"/>
          <p:cNvSpPr>
            <a:spLocks noChangeShapeType="1"/>
          </p:cNvSpPr>
          <p:nvPr/>
        </p:nvSpPr>
        <p:spPr bwMode="auto">
          <a:xfrm flipV="1">
            <a:off x="3059113" y="5300663"/>
            <a:ext cx="0" cy="144462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/>
            <a:tailEnd/>
          </a:ln>
        </p:spPr>
        <p:txBody>
          <a:bodyPr wrap="none"/>
          <a:lstStyle/>
          <a:p>
            <a:endParaRPr lang="cs-CZ"/>
          </a:p>
        </p:txBody>
      </p:sp>
      <p:sp>
        <p:nvSpPr>
          <p:cNvPr id="24586" name="Line 33"/>
          <p:cNvSpPr>
            <a:spLocks noChangeShapeType="1"/>
          </p:cNvSpPr>
          <p:nvPr/>
        </p:nvSpPr>
        <p:spPr bwMode="auto">
          <a:xfrm flipV="1">
            <a:off x="5867400" y="5300663"/>
            <a:ext cx="0" cy="144462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/>
            <a:tailEnd/>
          </a:ln>
        </p:spPr>
        <p:txBody>
          <a:bodyPr wrap="none"/>
          <a:lstStyle/>
          <a:p>
            <a:endParaRPr lang="cs-CZ"/>
          </a:p>
        </p:txBody>
      </p:sp>
      <p:sp>
        <p:nvSpPr>
          <p:cNvPr id="24587" name="Line 43"/>
          <p:cNvSpPr>
            <a:spLocks noChangeShapeType="1"/>
          </p:cNvSpPr>
          <p:nvPr/>
        </p:nvSpPr>
        <p:spPr bwMode="auto">
          <a:xfrm>
            <a:off x="3059113" y="4437063"/>
            <a:ext cx="2808287" cy="0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/>
            <a:tailEnd/>
          </a:ln>
        </p:spPr>
        <p:txBody>
          <a:bodyPr wrap="none"/>
          <a:lstStyle/>
          <a:p>
            <a:endParaRPr lang="cs-CZ"/>
          </a:p>
        </p:txBody>
      </p:sp>
      <p:sp>
        <p:nvSpPr>
          <p:cNvPr id="24588" name="Line 44"/>
          <p:cNvSpPr>
            <a:spLocks noChangeShapeType="1"/>
          </p:cNvSpPr>
          <p:nvPr/>
        </p:nvSpPr>
        <p:spPr bwMode="auto">
          <a:xfrm flipH="1">
            <a:off x="5867400" y="4437063"/>
            <a:ext cx="0" cy="360362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/>
            <a:tailEnd type="triangle" w="med" len="med"/>
          </a:ln>
        </p:spPr>
        <p:txBody>
          <a:bodyPr wrap="none"/>
          <a:lstStyle/>
          <a:p>
            <a:endParaRPr lang="cs-CZ"/>
          </a:p>
        </p:txBody>
      </p:sp>
      <p:sp>
        <p:nvSpPr>
          <p:cNvPr id="24589" name="Line 45"/>
          <p:cNvSpPr>
            <a:spLocks noChangeShapeType="1"/>
          </p:cNvSpPr>
          <p:nvPr/>
        </p:nvSpPr>
        <p:spPr bwMode="auto">
          <a:xfrm>
            <a:off x="3059113" y="4437063"/>
            <a:ext cx="0" cy="360362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/>
            <a:tailEnd type="triangle" w="med" len="med"/>
          </a:ln>
        </p:spPr>
        <p:txBody>
          <a:bodyPr wrap="none"/>
          <a:lstStyle/>
          <a:p>
            <a:endParaRPr lang="cs-CZ"/>
          </a:p>
        </p:txBody>
      </p:sp>
      <p:sp>
        <p:nvSpPr>
          <p:cNvPr id="24590" name="Line 46"/>
          <p:cNvSpPr>
            <a:spLocks noChangeShapeType="1"/>
          </p:cNvSpPr>
          <p:nvPr/>
        </p:nvSpPr>
        <p:spPr bwMode="auto">
          <a:xfrm>
            <a:off x="4498975" y="4437063"/>
            <a:ext cx="0" cy="360362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/>
            <a:tailEnd type="triangle" w="med" len="med"/>
          </a:ln>
        </p:spPr>
        <p:txBody>
          <a:bodyPr wrap="none"/>
          <a:lstStyle/>
          <a:p>
            <a:endParaRPr lang="cs-CZ"/>
          </a:p>
        </p:txBody>
      </p:sp>
      <p:sp>
        <p:nvSpPr>
          <p:cNvPr id="24591" name="Line 47"/>
          <p:cNvSpPr>
            <a:spLocks noChangeShapeType="1"/>
          </p:cNvSpPr>
          <p:nvPr/>
        </p:nvSpPr>
        <p:spPr bwMode="auto">
          <a:xfrm>
            <a:off x="4498975" y="5229225"/>
            <a:ext cx="0" cy="431800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/>
            <a:tailEnd type="triangle" w="med" len="med"/>
          </a:ln>
        </p:spPr>
        <p:txBody>
          <a:bodyPr wrap="none"/>
          <a:lstStyle/>
          <a:p>
            <a:endParaRPr lang="cs-CZ"/>
          </a:p>
        </p:txBody>
      </p:sp>
      <p:sp>
        <p:nvSpPr>
          <p:cNvPr id="24592" name="Line 48"/>
          <p:cNvSpPr>
            <a:spLocks noChangeShapeType="1"/>
          </p:cNvSpPr>
          <p:nvPr/>
        </p:nvSpPr>
        <p:spPr bwMode="auto">
          <a:xfrm>
            <a:off x="4498975" y="6021388"/>
            <a:ext cx="0" cy="287337"/>
          </a:xfrm>
          <a:prstGeom prst="line">
            <a:avLst/>
          </a:prstGeom>
          <a:noFill/>
          <a:ln w="57150">
            <a:solidFill>
              <a:srgbClr val="FFC000"/>
            </a:solidFill>
            <a:round/>
            <a:headEnd/>
            <a:tailEnd type="triangle" w="med" len="med"/>
          </a:ln>
        </p:spPr>
        <p:txBody>
          <a:bodyPr wrap="none"/>
          <a:lstStyle/>
          <a:p>
            <a:endParaRPr lang="cs-CZ"/>
          </a:p>
        </p:txBody>
      </p:sp>
      <p:sp>
        <p:nvSpPr>
          <p:cNvPr id="421939" name="Line 51"/>
          <p:cNvSpPr>
            <a:spLocks noChangeShapeType="1"/>
          </p:cNvSpPr>
          <p:nvPr/>
        </p:nvSpPr>
        <p:spPr bwMode="auto">
          <a:xfrm>
            <a:off x="5940425" y="3716338"/>
            <a:ext cx="0" cy="144462"/>
          </a:xfrm>
          <a:prstGeom prst="line">
            <a:avLst/>
          </a:prstGeom>
          <a:noFill/>
          <a:ln w="44450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/>
          <a:lstStyle/>
          <a:p>
            <a:pPr>
              <a:defRPr/>
            </a:pPr>
            <a:endParaRPr lang="cs-CZ" sz="1400"/>
          </a:p>
        </p:txBody>
      </p:sp>
      <p:sp>
        <p:nvSpPr>
          <p:cNvPr id="421940" name="Line 52"/>
          <p:cNvSpPr>
            <a:spLocks noChangeShapeType="1"/>
          </p:cNvSpPr>
          <p:nvPr/>
        </p:nvSpPr>
        <p:spPr bwMode="auto">
          <a:xfrm>
            <a:off x="7524750" y="3716338"/>
            <a:ext cx="0" cy="144462"/>
          </a:xfrm>
          <a:prstGeom prst="line">
            <a:avLst/>
          </a:prstGeom>
          <a:noFill/>
          <a:ln w="44450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/>
          <a:lstStyle/>
          <a:p>
            <a:pPr>
              <a:defRPr/>
            </a:pPr>
            <a:endParaRPr lang="cs-CZ" sz="1400"/>
          </a:p>
        </p:txBody>
      </p:sp>
      <p:sp>
        <p:nvSpPr>
          <p:cNvPr id="421941" name="Line 53"/>
          <p:cNvSpPr>
            <a:spLocks noChangeShapeType="1"/>
          </p:cNvSpPr>
          <p:nvPr/>
        </p:nvSpPr>
        <p:spPr bwMode="auto">
          <a:xfrm>
            <a:off x="5940425" y="3860800"/>
            <a:ext cx="1584325" cy="0"/>
          </a:xfrm>
          <a:prstGeom prst="line">
            <a:avLst/>
          </a:prstGeom>
          <a:noFill/>
          <a:ln w="44450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/>
          <a:lstStyle/>
          <a:p>
            <a:pPr>
              <a:defRPr/>
            </a:pPr>
            <a:endParaRPr lang="cs-CZ" sz="1400"/>
          </a:p>
        </p:txBody>
      </p:sp>
      <p:sp>
        <p:nvSpPr>
          <p:cNvPr id="421944" name="Line 56"/>
          <p:cNvSpPr>
            <a:spLocks noChangeShapeType="1"/>
          </p:cNvSpPr>
          <p:nvPr/>
        </p:nvSpPr>
        <p:spPr bwMode="auto">
          <a:xfrm>
            <a:off x="1690688" y="5805488"/>
            <a:ext cx="2160587" cy="0"/>
          </a:xfrm>
          <a:prstGeom prst="line">
            <a:avLst/>
          </a:prstGeom>
          <a:noFill/>
          <a:ln w="41275">
            <a:solidFill>
              <a:schemeClr val="bg1">
                <a:lumMod val="75000"/>
              </a:schemeClr>
            </a:solidFill>
            <a:round/>
            <a:headEnd/>
            <a:tailEnd type="triangle" w="med" len="med"/>
          </a:ln>
          <a:effectLst/>
        </p:spPr>
        <p:txBody>
          <a:bodyPr wrap="none"/>
          <a:lstStyle/>
          <a:p>
            <a:pPr>
              <a:defRPr/>
            </a:pPr>
            <a:endParaRPr lang="cs-CZ" sz="1400"/>
          </a:p>
        </p:txBody>
      </p:sp>
      <p:sp>
        <p:nvSpPr>
          <p:cNvPr id="421945" name="Line 57"/>
          <p:cNvSpPr>
            <a:spLocks noChangeShapeType="1"/>
          </p:cNvSpPr>
          <p:nvPr/>
        </p:nvSpPr>
        <p:spPr bwMode="auto">
          <a:xfrm flipV="1">
            <a:off x="1690688" y="4652963"/>
            <a:ext cx="0" cy="1152525"/>
          </a:xfrm>
          <a:prstGeom prst="line">
            <a:avLst/>
          </a:prstGeom>
          <a:noFill/>
          <a:ln w="4127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/>
          <a:lstStyle/>
          <a:p>
            <a:pPr>
              <a:defRPr/>
            </a:pPr>
            <a:endParaRPr lang="cs-CZ" sz="1400"/>
          </a:p>
        </p:txBody>
      </p:sp>
      <p:sp>
        <p:nvSpPr>
          <p:cNvPr id="421947" name="Line 59"/>
          <p:cNvSpPr>
            <a:spLocks noChangeShapeType="1"/>
          </p:cNvSpPr>
          <p:nvPr/>
        </p:nvSpPr>
        <p:spPr bwMode="auto">
          <a:xfrm>
            <a:off x="5219700" y="5876925"/>
            <a:ext cx="1439863" cy="0"/>
          </a:xfrm>
          <a:prstGeom prst="line">
            <a:avLst/>
          </a:prstGeom>
          <a:noFill/>
          <a:ln w="57150">
            <a:solidFill>
              <a:schemeClr val="tx1">
                <a:lumMod val="65000"/>
                <a:lumOff val="35000"/>
              </a:schemeClr>
            </a:solidFill>
            <a:round/>
            <a:headEnd/>
            <a:tailEnd/>
          </a:ln>
          <a:effectLst/>
        </p:spPr>
        <p:txBody>
          <a:bodyPr wrap="none"/>
          <a:lstStyle/>
          <a:p>
            <a:pPr>
              <a:defRPr/>
            </a:pPr>
            <a:endParaRPr lang="cs-CZ" sz="1400"/>
          </a:p>
        </p:txBody>
      </p:sp>
      <p:sp>
        <p:nvSpPr>
          <p:cNvPr id="421948" name="Line 60"/>
          <p:cNvSpPr>
            <a:spLocks noChangeShapeType="1"/>
          </p:cNvSpPr>
          <p:nvPr/>
        </p:nvSpPr>
        <p:spPr bwMode="auto">
          <a:xfrm flipV="1">
            <a:off x="6659563" y="4149725"/>
            <a:ext cx="360362" cy="1727200"/>
          </a:xfrm>
          <a:prstGeom prst="line">
            <a:avLst/>
          </a:prstGeom>
          <a:noFill/>
          <a:ln w="57150">
            <a:solidFill>
              <a:schemeClr val="tx1">
                <a:lumMod val="65000"/>
                <a:lumOff val="35000"/>
              </a:schemeClr>
            </a:solidFill>
            <a:round/>
            <a:headEnd/>
            <a:tailEnd type="triangle" w="med" len="med"/>
          </a:ln>
          <a:effectLst/>
        </p:spPr>
        <p:txBody>
          <a:bodyPr wrap="none"/>
          <a:lstStyle/>
          <a:p>
            <a:pPr>
              <a:defRPr/>
            </a:pPr>
            <a:endParaRPr lang="cs-CZ" sz="1400"/>
          </a:p>
        </p:txBody>
      </p:sp>
      <p:sp>
        <p:nvSpPr>
          <p:cNvPr id="57" name="Obdélník 56"/>
          <p:cNvSpPr/>
          <p:nvPr/>
        </p:nvSpPr>
        <p:spPr>
          <a:xfrm>
            <a:off x="0" y="0"/>
            <a:ext cx="9144000" cy="69215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Rectangle 2"/>
          <p:cNvSpPr txBox="1">
            <a:spLocks noChangeArrowheads="1"/>
          </p:cNvSpPr>
          <p:nvPr/>
        </p:nvSpPr>
        <p:spPr>
          <a:xfrm>
            <a:off x="0" y="0"/>
            <a:ext cx="9144000" cy="692150"/>
          </a:xfrm>
          <a:prstGeom prst="rect">
            <a:avLst/>
          </a:prstGeom>
        </p:spPr>
        <p:txBody>
          <a:bodyPr anchor="ctr"/>
          <a:lstStyle/>
          <a:p>
            <a:r>
              <a:rPr lang="cs-CZ" b="1">
                <a:solidFill>
                  <a:schemeClr val="bg1"/>
                </a:solidFill>
              </a:rPr>
              <a:t>5) J. Pokorný, Přednáška KCP v UM, Praha 2007</a:t>
            </a:r>
            <a:endParaRPr lang="de-DE" b="1">
              <a:solidFill>
                <a:schemeClr val="bg1"/>
              </a:solidFill>
            </a:endParaRPr>
          </a:p>
        </p:txBody>
      </p:sp>
      <p:sp>
        <p:nvSpPr>
          <p:cNvPr id="60" name="TextovéPole 59"/>
          <p:cNvSpPr txBox="1"/>
          <p:nvPr/>
        </p:nvSpPr>
        <p:spPr>
          <a:xfrm>
            <a:off x="1763713" y="1052513"/>
            <a:ext cx="1439862" cy="30797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spAutoFit/>
          </a:bodyPr>
          <a:lstStyle/>
          <a:p>
            <a:pPr algn="ctr">
              <a:defRPr/>
            </a:pPr>
            <a:r>
              <a:rPr lang="cs-CZ" sz="1400" dirty="0"/>
              <a:t>fraktura </a:t>
            </a:r>
            <a:r>
              <a:rPr lang="cs-CZ" sz="1400" dirty="0" err="1"/>
              <a:t>lbi</a:t>
            </a:r>
            <a:endParaRPr lang="cs-CZ" sz="1400" dirty="0"/>
          </a:p>
        </p:txBody>
      </p:sp>
      <p:sp>
        <p:nvSpPr>
          <p:cNvPr id="24603" name="TextovéPole 60"/>
          <p:cNvSpPr txBox="1">
            <a:spLocks noChangeArrowheads="1"/>
          </p:cNvSpPr>
          <p:nvPr/>
        </p:nvSpPr>
        <p:spPr bwMode="auto">
          <a:xfrm>
            <a:off x="0" y="908050"/>
            <a:ext cx="1512888" cy="647700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cs-CZ" b="1">
                <a:solidFill>
                  <a:schemeClr val="bg1"/>
                </a:solidFill>
              </a:rPr>
              <a:t>primární léze</a:t>
            </a:r>
          </a:p>
        </p:txBody>
      </p:sp>
      <p:sp>
        <p:nvSpPr>
          <p:cNvPr id="62" name="TextovéPole 61"/>
          <p:cNvSpPr txBox="1"/>
          <p:nvPr/>
        </p:nvSpPr>
        <p:spPr>
          <a:xfrm>
            <a:off x="3708400" y="1052513"/>
            <a:ext cx="1439863" cy="30797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spAutoFit/>
          </a:bodyPr>
          <a:lstStyle/>
          <a:p>
            <a:pPr algn="ctr">
              <a:defRPr/>
            </a:pPr>
            <a:r>
              <a:rPr lang="cs-CZ" sz="1400" dirty="0"/>
              <a:t>cévní léze</a:t>
            </a:r>
          </a:p>
        </p:txBody>
      </p:sp>
      <p:cxnSp>
        <p:nvCxnSpPr>
          <p:cNvPr id="64" name="Přímá spojovací šipka 63"/>
          <p:cNvCxnSpPr>
            <a:stCxn id="62" idx="2"/>
          </p:cNvCxnSpPr>
          <p:nvPr/>
        </p:nvCxnSpPr>
        <p:spPr>
          <a:xfrm rot="5400000">
            <a:off x="4005263" y="1350963"/>
            <a:ext cx="412750" cy="43180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headEnd type="none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Přímá spojovací šipka 67"/>
          <p:cNvCxnSpPr>
            <a:stCxn id="62" idx="2"/>
          </p:cNvCxnSpPr>
          <p:nvPr/>
        </p:nvCxnSpPr>
        <p:spPr>
          <a:xfrm rot="16200000" flipH="1">
            <a:off x="4221163" y="1566863"/>
            <a:ext cx="1781175" cy="1368425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headEnd type="none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ovéPole 73"/>
          <p:cNvSpPr txBox="1"/>
          <p:nvPr/>
        </p:nvSpPr>
        <p:spPr>
          <a:xfrm>
            <a:off x="5651500" y="1052513"/>
            <a:ext cx="1441450" cy="30797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spAutoFit/>
          </a:bodyPr>
          <a:lstStyle/>
          <a:p>
            <a:pPr algn="ctr">
              <a:defRPr/>
            </a:pPr>
            <a:r>
              <a:rPr lang="cs-CZ" sz="1400" dirty="0"/>
              <a:t>kontuze</a:t>
            </a:r>
          </a:p>
        </p:txBody>
      </p:sp>
      <p:sp>
        <p:nvSpPr>
          <p:cNvPr id="76" name="TextovéPole 75"/>
          <p:cNvSpPr txBox="1"/>
          <p:nvPr/>
        </p:nvSpPr>
        <p:spPr>
          <a:xfrm>
            <a:off x="7524750" y="1052513"/>
            <a:ext cx="1439863" cy="30797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spAutoFit/>
          </a:bodyPr>
          <a:lstStyle/>
          <a:p>
            <a:pPr algn="ctr">
              <a:defRPr/>
            </a:pPr>
            <a:r>
              <a:rPr lang="cs-CZ" sz="1400" dirty="0"/>
              <a:t>DAP</a:t>
            </a:r>
          </a:p>
        </p:txBody>
      </p:sp>
      <p:cxnSp>
        <p:nvCxnSpPr>
          <p:cNvPr id="77" name="Přímá spojovací šipka 76"/>
          <p:cNvCxnSpPr>
            <a:stCxn id="74" idx="2"/>
          </p:cNvCxnSpPr>
          <p:nvPr/>
        </p:nvCxnSpPr>
        <p:spPr>
          <a:xfrm rot="5400000">
            <a:off x="6165850" y="1566863"/>
            <a:ext cx="411163" cy="1587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headEnd type="none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ovéPole 77"/>
          <p:cNvSpPr txBox="1"/>
          <p:nvPr/>
        </p:nvSpPr>
        <p:spPr>
          <a:xfrm>
            <a:off x="3203575" y="1844675"/>
            <a:ext cx="1439863" cy="30797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spAutoFit/>
          </a:bodyPr>
          <a:lstStyle/>
          <a:p>
            <a:pPr algn="ctr">
              <a:defRPr/>
            </a:pPr>
            <a:r>
              <a:rPr lang="cs-CZ" sz="1400" dirty="0"/>
              <a:t>hemoragie</a:t>
            </a:r>
          </a:p>
        </p:txBody>
      </p:sp>
      <p:sp>
        <p:nvSpPr>
          <p:cNvPr id="80" name="TextovéPole 79"/>
          <p:cNvSpPr txBox="1"/>
          <p:nvPr/>
        </p:nvSpPr>
        <p:spPr>
          <a:xfrm>
            <a:off x="5651500" y="1844675"/>
            <a:ext cx="1441450" cy="70802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spAutoFit/>
          </a:bodyPr>
          <a:lstStyle/>
          <a:p>
            <a:pPr algn="ctr">
              <a:defRPr/>
            </a:pPr>
            <a:r>
              <a:rPr lang="cs-CZ" sz="1400" dirty="0"/>
              <a:t>uvolnění </a:t>
            </a:r>
            <a:r>
              <a:rPr lang="cs-CZ" sz="1400" dirty="0" err="1"/>
              <a:t>transmiterů</a:t>
            </a:r>
            <a:r>
              <a:rPr lang="cs-CZ" sz="1400" dirty="0"/>
              <a:t> </a:t>
            </a:r>
            <a:r>
              <a:rPr lang="cs-CZ" sz="1200" dirty="0"/>
              <a:t>(</a:t>
            </a:r>
            <a:r>
              <a:rPr lang="cs-CZ" sz="1200" dirty="0" err="1"/>
              <a:t>glutamát</a:t>
            </a:r>
            <a:r>
              <a:rPr lang="cs-CZ" sz="1200" dirty="0"/>
              <a:t>)</a:t>
            </a:r>
          </a:p>
        </p:txBody>
      </p:sp>
      <p:sp>
        <p:nvSpPr>
          <p:cNvPr id="24612" name="TextovéPole 81"/>
          <p:cNvSpPr txBox="1">
            <a:spLocks noChangeArrowheads="1"/>
          </p:cNvSpPr>
          <p:nvPr/>
        </p:nvSpPr>
        <p:spPr bwMode="auto">
          <a:xfrm>
            <a:off x="0" y="2997200"/>
            <a:ext cx="1512888" cy="646113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cs-CZ" b="1">
                <a:solidFill>
                  <a:schemeClr val="bg1"/>
                </a:solidFill>
              </a:rPr>
              <a:t>sekundární léze</a:t>
            </a:r>
          </a:p>
        </p:txBody>
      </p:sp>
      <p:sp>
        <p:nvSpPr>
          <p:cNvPr id="83" name="TextovéPole 82"/>
          <p:cNvSpPr txBox="1"/>
          <p:nvPr/>
        </p:nvSpPr>
        <p:spPr>
          <a:xfrm>
            <a:off x="7524750" y="1844675"/>
            <a:ext cx="1439863" cy="7381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spAutoFit/>
          </a:bodyPr>
          <a:lstStyle/>
          <a:p>
            <a:pPr algn="ctr">
              <a:defRPr/>
            </a:pPr>
            <a:r>
              <a:rPr lang="cs-CZ" sz="1400" dirty="0" err="1"/>
              <a:t>disrupce</a:t>
            </a:r>
            <a:r>
              <a:rPr lang="cs-CZ" sz="1400" dirty="0"/>
              <a:t> </a:t>
            </a:r>
            <a:r>
              <a:rPr lang="cs-CZ" sz="1400" dirty="0" err="1"/>
              <a:t>axonálního</a:t>
            </a:r>
            <a:r>
              <a:rPr lang="cs-CZ" sz="1400" dirty="0"/>
              <a:t> vedení</a:t>
            </a:r>
            <a:endParaRPr lang="cs-CZ" sz="1000" dirty="0"/>
          </a:p>
        </p:txBody>
      </p:sp>
      <p:cxnSp>
        <p:nvCxnSpPr>
          <p:cNvPr id="90" name="Přímá spojovací šipka 89"/>
          <p:cNvCxnSpPr>
            <a:stCxn id="76" idx="2"/>
          </p:cNvCxnSpPr>
          <p:nvPr/>
        </p:nvCxnSpPr>
        <p:spPr>
          <a:xfrm rot="5400000">
            <a:off x="8039100" y="1566863"/>
            <a:ext cx="411163" cy="1587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headEnd type="none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Přímá spojovací šipka 95"/>
          <p:cNvCxnSpPr>
            <a:stCxn id="78" idx="2"/>
          </p:cNvCxnSpPr>
          <p:nvPr/>
        </p:nvCxnSpPr>
        <p:spPr>
          <a:xfrm rot="16200000" flipH="1">
            <a:off x="3681412" y="2395538"/>
            <a:ext cx="989013" cy="503238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headEnd type="none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ovéPole 98"/>
          <p:cNvSpPr txBox="1"/>
          <p:nvPr/>
        </p:nvSpPr>
        <p:spPr>
          <a:xfrm>
            <a:off x="0" y="1557338"/>
            <a:ext cx="1512888" cy="27622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spAutoFit/>
          </a:bodyPr>
          <a:lstStyle/>
          <a:p>
            <a:pPr>
              <a:defRPr/>
            </a:pPr>
            <a:r>
              <a:rPr lang="cs-CZ" sz="1200" dirty="0"/>
              <a:t>výsledek</a:t>
            </a:r>
          </a:p>
        </p:txBody>
      </p:sp>
      <p:sp>
        <p:nvSpPr>
          <p:cNvPr id="100" name="TextovéPole 99"/>
          <p:cNvSpPr txBox="1"/>
          <p:nvPr/>
        </p:nvSpPr>
        <p:spPr>
          <a:xfrm>
            <a:off x="1835150" y="3213100"/>
            <a:ext cx="1441450" cy="30797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spAutoFit/>
          </a:bodyPr>
          <a:lstStyle/>
          <a:p>
            <a:pPr algn="ctr">
              <a:defRPr/>
            </a:pPr>
            <a:r>
              <a:rPr lang="cs-CZ" sz="1400" dirty="0"/>
              <a:t>hematom</a:t>
            </a:r>
          </a:p>
        </p:txBody>
      </p:sp>
      <p:sp>
        <p:nvSpPr>
          <p:cNvPr id="101" name="TextovéPole 100"/>
          <p:cNvSpPr txBox="1"/>
          <p:nvPr/>
        </p:nvSpPr>
        <p:spPr>
          <a:xfrm>
            <a:off x="3635375" y="3213100"/>
            <a:ext cx="1441450" cy="30797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spAutoFit/>
          </a:bodyPr>
          <a:lstStyle/>
          <a:p>
            <a:pPr algn="ctr">
              <a:defRPr/>
            </a:pPr>
            <a:r>
              <a:rPr lang="cs-CZ" sz="1400" dirty="0" err="1"/>
              <a:t>vasospasmus</a:t>
            </a:r>
            <a:endParaRPr lang="cs-CZ" sz="1400" dirty="0"/>
          </a:p>
        </p:txBody>
      </p:sp>
      <p:sp>
        <p:nvSpPr>
          <p:cNvPr id="102" name="TextovéPole 101"/>
          <p:cNvSpPr txBox="1"/>
          <p:nvPr/>
        </p:nvSpPr>
        <p:spPr>
          <a:xfrm>
            <a:off x="5364163" y="3213100"/>
            <a:ext cx="1439862" cy="52387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spAutoFit/>
          </a:bodyPr>
          <a:lstStyle/>
          <a:p>
            <a:pPr algn="ctr">
              <a:defRPr/>
            </a:pPr>
            <a:r>
              <a:rPr lang="cs-CZ" sz="1400" dirty="0"/>
              <a:t>edém </a:t>
            </a:r>
            <a:r>
              <a:rPr lang="cs-CZ" sz="1400" dirty="0" err="1"/>
              <a:t>vasogenní</a:t>
            </a:r>
            <a:endParaRPr lang="cs-CZ" sz="1400" dirty="0"/>
          </a:p>
        </p:txBody>
      </p:sp>
      <p:sp>
        <p:nvSpPr>
          <p:cNvPr id="103" name="TextovéPole 102"/>
          <p:cNvSpPr txBox="1"/>
          <p:nvPr/>
        </p:nvSpPr>
        <p:spPr>
          <a:xfrm>
            <a:off x="6875463" y="3213100"/>
            <a:ext cx="1441450" cy="52387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spAutoFit/>
          </a:bodyPr>
          <a:lstStyle/>
          <a:p>
            <a:pPr algn="ctr">
              <a:defRPr/>
            </a:pPr>
            <a:r>
              <a:rPr lang="cs-CZ" sz="1400" dirty="0"/>
              <a:t>edém cytotoxický</a:t>
            </a:r>
          </a:p>
        </p:txBody>
      </p:sp>
      <p:cxnSp>
        <p:nvCxnSpPr>
          <p:cNvPr id="105" name="Přímá spojovací šipka 104"/>
          <p:cNvCxnSpPr>
            <a:stCxn id="78" idx="2"/>
          </p:cNvCxnSpPr>
          <p:nvPr/>
        </p:nvCxnSpPr>
        <p:spPr>
          <a:xfrm rot="5400000">
            <a:off x="2817812" y="2035176"/>
            <a:ext cx="989013" cy="1223962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headEnd type="none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Přímá spojovací šipka 110"/>
          <p:cNvCxnSpPr>
            <a:stCxn id="80" idx="2"/>
          </p:cNvCxnSpPr>
          <p:nvPr/>
        </p:nvCxnSpPr>
        <p:spPr>
          <a:xfrm rot="5400000">
            <a:off x="6077744" y="2847182"/>
            <a:ext cx="587375" cy="1587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headEnd type="none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Přímá spojovací šipka 113"/>
          <p:cNvCxnSpPr>
            <a:stCxn id="80" idx="2"/>
          </p:cNvCxnSpPr>
          <p:nvPr/>
        </p:nvCxnSpPr>
        <p:spPr>
          <a:xfrm rot="16200000" flipH="1">
            <a:off x="6689725" y="2235200"/>
            <a:ext cx="588963" cy="1223963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headEnd type="none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Přímá spojovací šipka 125"/>
          <p:cNvCxnSpPr/>
          <p:nvPr/>
        </p:nvCxnSpPr>
        <p:spPr>
          <a:xfrm rot="10800000" flipV="1">
            <a:off x="5795963" y="3860800"/>
            <a:ext cx="506412" cy="360363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headEnd type="none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ovéPole 126"/>
          <p:cNvSpPr txBox="1"/>
          <p:nvPr/>
        </p:nvSpPr>
        <p:spPr>
          <a:xfrm>
            <a:off x="1403350" y="4076700"/>
            <a:ext cx="1439863" cy="30797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spAutoFit/>
          </a:bodyPr>
          <a:lstStyle/>
          <a:p>
            <a:pPr algn="ctr">
              <a:defRPr/>
            </a:pPr>
            <a:r>
              <a:rPr lang="cs-CZ" sz="1400" dirty="0"/>
              <a:t>hypotenze</a:t>
            </a:r>
          </a:p>
        </p:txBody>
      </p:sp>
      <p:sp>
        <p:nvSpPr>
          <p:cNvPr id="128" name="TextovéPole 127"/>
          <p:cNvSpPr txBox="1"/>
          <p:nvPr/>
        </p:nvSpPr>
        <p:spPr>
          <a:xfrm>
            <a:off x="468313" y="4437063"/>
            <a:ext cx="1439862" cy="30797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spAutoFit/>
          </a:bodyPr>
          <a:lstStyle/>
          <a:p>
            <a:pPr algn="ctr">
              <a:defRPr/>
            </a:pPr>
            <a:r>
              <a:rPr lang="cs-CZ" sz="1400" dirty="0" err="1"/>
              <a:t>hypoxemie</a:t>
            </a:r>
            <a:endParaRPr lang="cs-CZ" sz="1400" dirty="0"/>
          </a:p>
        </p:txBody>
      </p:sp>
      <p:cxnSp>
        <p:nvCxnSpPr>
          <p:cNvPr id="129" name="Přímá spojovací šipka 128"/>
          <p:cNvCxnSpPr>
            <a:stCxn id="101" idx="2"/>
          </p:cNvCxnSpPr>
          <p:nvPr/>
        </p:nvCxnSpPr>
        <p:spPr>
          <a:xfrm rot="16200000" flipH="1">
            <a:off x="4078288" y="3798887"/>
            <a:ext cx="700088" cy="144463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headEnd type="none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Přímá spojovací šipka 131"/>
          <p:cNvCxnSpPr>
            <a:stCxn id="100" idx="2"/>
          </p:cNvCxnSpPr>
          <p:nvPr/>
        </p:nvCxnSpPr>
        <p:spPr>
          <a:xfrm rot="16200000" flipH="1">
            <a:off x="2566194" y="3510756"/>
            <a:ext cx="771525" cy="792163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headEnd type="none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Přímá spojovací šipka 134"/>
          <p:cNvCxnSpPr>
            <a:stCxn id="127" idx="2"/>
          </p:cNvCxnSpPr>
          <p:nvPr/>
        </p:nvCxnSpPr>
        <p:spPr>
          <a:xfrm rot="16200000" flipH="1">
            <a:off x="2205832" y="4302918"/>
            <a:ext cx="412750" cy="576263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headEnd type="none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630" name="TextovéPole 137"/>
          <p:cNvSpPr txBox="1">
            <a:spLocks noChangeArrowheads="1"/>
          </p:cNvSpPr>
          <p:nvPr/>
        </p:nvSpPr>
        <p:spPr bwMode="auto">
          <a:xfrm>
            <a:off x="0" y="3644900"/>
            <a:ext cx="1512888" cy="277813"/>
          </a:xfrm>
          <a:prstGeom prst="rect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cs-CZ" sz="1200"/>
              <a:t>následky</a:t>
            </a:r>
          </a:p>
        </p:txBody>
      </p:sp>
      <p:cxnSp>
        <p:nvCxnSpPr>
          <p:cNvPr id="140" name="Přímá spojovací šipka 139"/>
          <p:cNvCxnSpPr/>
          <p:nvPr/>
        </p:nvCxnSpPr>
        <p:spPr>
          <a:xfrm rot="5400000">
            <a:off x="7488238" y="3609975"/>
            <a:ext cx="2232025" cy="142875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headEnd type="none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Line 15"/>
          <p:cNvSpPr>
            <a:spLocks noChangeShapeType="1"/>
          </p:cNvSpPr>
          <p:nvPr/>
        </p:nvSpPr>
        <p:spPr bwMode="auto">
          <a:xfrm flipV="1">
            <a:off x="0" y="6308725"/>
            <a:ext cx="9144000" cy="0"/>
          </a:xfrm>
          <a:prstGeom prst="line">
            <a:avLst/>
          </a:prstGeom>
          <a:noFill/>
          <a:ln w="38100">
            <a:solidFill>
              <a:schemeClr val="bg1">
                <a:lumMod val="75000"/>
              </a:schemeClr>
            </a:solidFill>
            <a:prstDash val="sysDot"/>
            <a:round/>
            <a:headEnd/>
            <a:tailEnd/>
          </a:ln>
          <a:effectLst/>
        </p:spPr>
        <p:txBody>
          <a:bodyPr wrap="none"/>
          <a:lstStyle/>
          <a:p>
            <a:pPr>
              <a:defRPr/>
            </a:pPr>
            <a:endParaRPr lang="cs-CZ" sz="14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_KKDi_sE2UC_NINSVR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iv sady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iv sady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750</TotalTime>
  <Words>951</Words>
  <Application>Microsoft Office PowerPoint</Application>
  <PresentationFormat>Předvádění na obrazovce (4:3)</PresentationFormat>
  <Paragraphs>264</Paragraphs>
  <Slides>26</Slides>
  <Notes>0</Notes>
  <HiddenSlides>0</HiddenSlides>
  <MMClips>0</MMClips>
  <ScaleCrop>false</ScaleCrop>
  <HeadingPairs>
    <vt:vector size="6" baseType="variant"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6</vt:i4>
      </vt:variant>
    </vt:vector>
  </HeadingPairs>
  <TitlesOfParts>
    <vt:vector size="28" baseType="lpstr">
      <vt:lpstr>Motiv sady Office</vt:lpstr>
      <vt:lpstr>think-cell Slid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Herniace </vt:lpstr>
      <vt:lpstr>Prezentace aplikace PowerPoint</vt:lpstr>
      <vt:lpstr>Centrální herniace (transtentoriální)</vt:lpstr>
      <vt:lpstr>Prezentace aplikace PowerPoint</vt:lpstr>
      <vt:lpstr>Centrální herniace (transtentoriální)</vt:lpstr>
      <vt:lpstr>Prezentace aplikace PowerPoint</vt:lpstr>
      <vt:lpstr>Centrální herniace (transtentoriální)</vt:lpstr>
      <vt:lpstr>Okcipitální herniac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Company>Penny Market s.r.o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nímek 1</dc:title>
  <dc:creator>andel</dc:creator>
  <cp:lastModifiedBy>Pekara Jaroslav</cp:lastModifiedBy>
  <cp:revision>644</cp:revision>
  <dcterms:created xsi:type="dcterms:W3CDTF">2012-04-05T09:37:11Z</dcterms:created>
  <dcterms:modified xsi:type="dcterms:W3CDTF">2015-04-20T07:41:48Z</dcterms:modified>
</cp:coreProperties>
</file>